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theme/theme2.xml" ContentType="application/vnd.openxmlformats-officedocument.theme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theme/theme3.xml" ContentType="application/vnd.openxmlformats-officedocument.theme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6" r:id="rId4"/>
    <p:sldMasterId id="2147488242" r:id="rId5"/>
    <p:sldMasterId id="2147488280" r:id="rId6"/>
    <p:sldMasterId id="2147488292" r:id="rId7"/>
    <p:sldMasterId id="2147488749" r:id="rId8"/>
  </p:sldMasterIdLst>
  <p:notesMasterIdLst>
    <p:notesMasterId r:id="rId40"/>
  </p:notesMasterIdLst>
  <p:sldIdLst>
    <p:sldId id="280" r:id="rId9"/>
    <p:sldId id="283" r:id="rId10"/>
    <p:sldId id="850" r:id="rId11"/>
    <p:sldId id="1109" r:id="rId12"/>
    <p:sldId id="1125" r:id="rId13"/>
    <p:sldId id="1172" r:id="rId14"/>
    <p:sldId id="1100" r:id="rId15"/>
    <p:sldId id="1182" r:id="rId16"/>
    <p:sldId id="1157" r:id="rId17"/>
    <p:sldId id="1171" r:id="rId18"/>
    <p:sldId id="880" r:id="rId19"/>
    <p:sldId id="556" r:id="rId20"/>
    <p:sldId id="1168" r:id="rId21"/>
    <p:sldId id="258" r:id="rId22"/>
    <p:sldId id="1176" r:id="rId23"/>
    <p:sldId id="1174" r:id="rId24"/>
    <p:sldId id="1185" r:id="rId25"/>
    <p:sldId id="1175" r:id="rId26"/>
    <p:sldId id="1179" r:id="rId27"/>
    <p:sldId id="1184" r:id="rId28"/>
    <p:sldId id="1183" r:id="rId29"/>
    <p:sldId id="261" r:id="rId30"/>
    <p:sldId id="1097" r:id="rId31"/>
    <p:sldId id="1187" r:id="rId32"/>
    <p:sldId id="1152" r:id="rId33"/>
    <p:sldId id="1166" r:id="rId34"/>
    <p:sldId id="1186" r:id="rId35"/>
    <p:sldId id="1165" r:id="rId36"/>
    <p:sldId id="845" r:id="rId37"/>
    <p:sldId id="1070" r:id="rId38"/>
    <p:sldId id="1188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0B48CC40-4357-5959-C41E-8F630855A478}" name="Aleena Lida Surenian" initials="AS" userId="S::als0813@ads.northwestern.edu::e2fd0e4e-6417-49b0-ab16-0ba26a1719f0" providerId="AD"/>
  <p188:author id="{B1E8E1CE-C373-4BDB-0D3F-F84FE1DA86D4}" name="Eileen Fleming Suse" initials="ES" userId="S::efs3844@ads.northwestern.edu::725c94ef-d051-42d7-9d33-8572765d59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6D73"/>
    <a:srgbClr val="49CFAF"/>
    <a:srgbClr val="FFCB77"/>
    <a:srgbClr val="FAE3A6"/>
    <a:srgbClr val="F0C760"/>
    <a:srgbClr val="56D683"/>
    <a:srgbClr val="4E2E60"/>
    <a:srgbClr val="FCECEF"/>
    <a:srgbClr val="8AE3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348"/>
    <p:restoredTop sz="81023"/>
  </p:normalViewPr>
  <p:slideViewPr>
    <p:cSldViewPr snapToGrid="0">
      <p:cViewPr varScale="1">
        <p:scale>
          <a:sx n="83" d="100"/>
          <a:sy n="83" d="100"/>
        </p:scale>
        <p:origin x="59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5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20" Type="http://schemas.openxmlformats.org/officeDocument/2006/relationships/slide" Target="slides/slide12.xml"/><Relationship Id="rId41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70608D-03E6-4E16-A007-9C8759E298F3}" type="datetimeFigureOut">
              <a:rPr lang="en-US"/>
              <a:t>4/21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56CA2D-DEC8-4DCF-B290-1C0640AFF2DE}" type="slidenum">
              <a:r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496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3800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ABBAE2-4C12-70A6-FBAE-F7360217FF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057833-C25D-FEA3-1B42-55B23589AB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1B5A1A-F309-E13F-ECB3-5724A76AA2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9671B7-8E68-9502-9790-F8F42D388B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8592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E45899-CC3B-1257-AD2C-F9538B9504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5AA577-8787-9FDE-385C-E1A4A9312F7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073DD9-3BDF-1729-567D-C30E506D22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E5F2AA-DE04-8C1F-B0B0-4458D05E8E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5517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F93285-457D-7A06-2A8B-A2013269B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159231-347A-226A-170C-3952FB1219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3B715B-5AFF-350D-34A9-E8A1582C47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D1BB86-5978-64B3-36CA-C6C407032D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0319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BC553D-13BA-9D96-60B7-9FE9F0A5DE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6555D1-66D3-CA3F-47E3-0E1743D22FE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8C9AF5-8E40-A9DD-60C0-BDCE435DF0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9A5BD6-566A-D10E-6899-B6E660CA32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56CA2D-DEC8-4DCF-B290-1C0640AFF2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32373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465AA3-D0C4-C13B-E424-41265DF4BD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FEE8CE6-8AE8-6269-2B52-9A956A869C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305C6B0-7041-4C96-9EE6-D148300EE8B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umber for February: 42.9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497B9F-F004-C45A-8E39-81BFD193F6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56CA2D-DEC8-4DCF-B290-1C0640AFF2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1112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650">
          <a:extLst>
            <a:ext uri="{FF2B5EF4-FFF2-40B4-BE49-F238E27FC236}">
              <a16:creationId xmlns:a16="http://schemas.microsoft.com/office/drawing/2014/main" id="{C224AA65-E27B-73B5-44A1-3DFBD1776A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51" name="Google Shape;20651;p11:notes">
            <a:extLst>
              <a:ext uri="{FF2B5EF4-FFF2-40B4-BE49-F238E27FC236}">
                <a16:creationId xmlns:a16="http://schemas.microsoft.com/office/drawing/2014/main" id="{24D12386-3B26-E913-28D3-1E9C020AD22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652" name="Google Shape;20652;p11:notes">
            <a:extLst>
              <a:ext uri="{FF2B5EF4-FFF2-40B4-BE49-F238E27FC236}">
                <a16:creationId xmlns:a16="http://schemas.microsoft.com/office/drawing/2014/main" id="{E090103E-59E6-9BB4-D784-33339C166BA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0653" name="Google Shape;20653;p11:notes">
            <a:extLst>
              <a:ext uri="{FF2B5EF4-FFF2-40B4-BE49-F238E27FC236}">
                <a16:creationId xmlns:a16="http://schemas.microsoft.com/office/drawing/2014/main" id="{F4FD6AD7-80BE-4762-D2A7-A6C864476BD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t>23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75253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650">
          <a:extLst>
            <a:ext uri="{FF2B5EF4-FFF2-40B4-BE49-F238E27FC236}">
              <a16:creationId xmlns:a16="http://schemas.microsoft.com/office/drawing/2014/main" id="{88532A36-1D32-10DD-CCAD-B991CDDA36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51" name="Google Shape;20651;p11:notes">
            <a:extLst>
              <a:ext uri="{FF2B5EF4-FFF2-40B4-BE49-F238E27FC236}">
                <a16:creationId xmlns:a16="http://schemas.microsoft.com/office/drawing/2014/main" id="{3E141C35-3E90-EDAA-3791-A2538B57C4D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652" name="Google Shape;20652;p11:notes">
            <a:extLst>
              <a:ext uri="{FF2B5EF4-FFF2-40B4-BE49-F238E27FC236}">
                <a16:creationId xmlns:a16="http://schemas.microsoft.com/office/drawing/2014/main" id="{48697812-2078-4AD1-E3C1-A3AAFFC073D4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0653" name="Google Shape;20653;p11:notes">
            <a:extLst>
              <a:ext uri="{FF2B5EF4-FFF2-40B4-BE49-F238E27FC236}">
                <a16:creationId xmlns:a16="http://schemas.microsoft.com/office/drawing/2014/main" id="{DA915BF0-1C99-F826-8036-347364CCC29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t>24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65676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2224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exis Vlahos is a registered Labor and Delivery nurse at NM Palos Hospital and the ESSI Team Lea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4650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733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>
          <a:extLst>
            <a:ext uri="{FF2B5EF4-FFF2-40B4-BE49-F238E27FC236}">
              <a16:creationId xmlns:a16="http://schemas.microsoft.com/office/drawing/2014/main" id="{1D7E35CD-E4B4-B769-ABDC-290658D49A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6:notes">
            <a:extLst>
              <a:ext uri="{FF2B5EF4-FFF2-40B4-BE49-F238E27FC236}">
                <a16:creationId xmlns:a16="http://schemas.microsoft.com/office/drawing/2014/main" id="{D44C86A5-1C0D-EF96-991E-7B49C5F0024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16:notes">
            <a:extLst>
              <a:ext uri="{FF2B5EF4-FFF2-40B4-BE49-F238E27FC236}">
                <a16:creationId xmlns:a16="http://schemas.microsoft.com/office/drawing/2014/main" id="{3B64E65B-D906-BF03-ECCD-C3737A6833B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6" name="Google Shape;366;p16:notes">
            <a:extLst>
              <a:ext uri="{FF2B5EF4-FFF2-40B4-BE49-F238E27FC236}">
                <a16:creationId xmlns:a16="http://schemas.microsoft.com/office/drawing/2014/main" id="{2D32D582-2831-737E-6250-D4410816E0D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43658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>
          <a:extLst>
            <a:ext uri="{FF2B5EF4-FFF2-40B4-BE49-F238E27FC236}">
              <a16:creationId xmlns:a16="http://schemas.microsoft.com/office/drawing/2014/main" id="{3488416C-7A2D-D983-ABC1-F3434A0C06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6:notes">
            <a:extLst>
              <a:ext uri="{FF2B5EF4-FFF2-40B4-BE49-F238E27FC236}">
                <a16:creationId xmlns:a16="http://schemas.microsoft.com/office/drawing/2014/main" id="{C7D52D22-70AF-3C1D-2A01-7F5A32F0F0B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16:notes">
            <a:extLst>
              <a:ext uri="{FF2B5EF4-FFF2-40B4-BE49-F238E27FC236}">
                <a16:creationId xmlns:a16="http://schemas.microsoft.com/office/drawing/2014/main" id="{D7BF777C-F79E-006D-5ED6-A2975919A77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6" name="Google Shape;366;p16:notes">
            <a:extLst>
              <a:ext uri="{FF2B5EF4-FFF2-40B4-BE49-F238E27FC236}">
                <a16:creationId xmlns:a16="http://schemas.microsoft.com/office/drawing/2014/main" id="{C29264E4-C705-F1FF-7763-4F10C8878F9A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49349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522D86-4DBC-BF4A-4AF1-7E35532E0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62A1D5-94BA-CAB5-FA31-E97DDD7505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4C3DB5-F2CD-B0AA-1A42-863B377563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09FC59-CCBD-2D02-3537-259210F9DBE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BD1989-80A6-4526-B6CA-3DFDBBCC42D0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17782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7267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A93D0-2D47-FAD1-1A6A-7F16492B0D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>
            <a:extLst>
              <a:ext uri="{FF2B5EF4-FFF2-40B4-BE49-F238E27FC236}">
                <a16:creationId xmlns:a16="http://schemas.microsoft.com/office/drawing/2014/main" id="{CA545CB2-A897-6E7A-47E4-EABB5B7F060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>
            <a:extLst>
              <a:ext uri="{FF2B5EF4-FFF2-40B4-BE49-F238E27FC236}">
                <a16:creationId xmlns:a16="http://schemas.microsoft.com/office/drawing/2014/main" id="{D2C44125-6C81-3CBE-486B-7770A1A364C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>
            <a:extLst>
              <a:ext uri="{FF2B5EF4-FFF2-40B4-BE49-F238E27FC236}">
                <a16:creationId xmlns:a16="http://schemas.microsoft.com/office/drawing/2014/main" id="{AD151372-977F-5550-CF75-2638890BB2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33F94C-C7C4-40F1-8D43-2A90996B240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5312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D33282-D2E8-E78C-8705-5E93660937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23048A-F8ED-33D1-C3D5-C39A1A7288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283E37-0A53-05BC-73D8-1A929D2372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8D3FB6-9EA6-598F-0D02-FA2BD2EFEA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759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1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1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1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1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3.jpe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7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8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8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8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8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8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8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8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8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8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8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8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8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1.jpe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8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4.xml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4.xml"/></Relationships>
</file>

<file path=ppt/slideLayouts/_rels/slideLayout8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4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4.xml"/></Relationships>
</file>

<file path=ppt/slideLayouts/_rels/slideLayout8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4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3.jpe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/Relationships>
</file>

<file path=ppt/slideLayouts/_rels/slideLayout8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8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9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4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4.xml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4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4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/Relationships>
</file>

<file path=ppt/slideLayouts/_rels/slideLayout9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4.xml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9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/Relationships>
</file>

<file path=ppt/slideLayouts/_rels/slideLayout9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/Relationships>
</file>

<file path=ppt/slideLayouts/_rels/slideLayout9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svg"/></Relationships>
</file>

<file path=ppt/slideLayouts/_rels/slideLayout9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svg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4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4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svg"/></Relationships>
</file>

<file path=ppt/slideLayouts/_rels/slideLayout9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4/21/25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4/21/25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1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1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4/21/25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4/21/25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9341557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37509308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278566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6893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19053655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71456659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57229719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62386673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568294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13826847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93702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754994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124396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0126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537049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834494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001337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182485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143133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89433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687090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245498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906455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73661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416495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19202611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990080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5119923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73163677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798606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99921674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2185155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18139453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75431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576869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12479987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1736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189380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0486031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9500944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709535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582460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978036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84448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47342728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88473811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2737649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234329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7517452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5309029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3079104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262679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890025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07736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149714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79610028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84415956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249171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8188109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28664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1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332753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530217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922352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651171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21686941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88848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3007223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2518281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55017623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0567801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57057100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329987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871120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419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050308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743821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05322890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70835231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77596003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8708825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062818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709182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6819669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30895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956745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38732624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01062223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97479298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639199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548627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4470864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01224586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21551008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147931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54160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335018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27485329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8739552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212639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10484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830608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89432464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46726108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1692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571558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86319288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8389838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47278243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94963578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54764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37653938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15909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16596569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048439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725558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45905458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129665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0840139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76416396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177548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1534892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6592335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42436215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90643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874899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623883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16333466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34398077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58277248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2286100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55278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91465718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6267028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83075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76722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9168040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16116539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859299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631915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021031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11952326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45482327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4671243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159540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3198463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2025958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056220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645311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986962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200060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34618472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63586460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0432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0747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95660747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9040074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51810267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11296133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349450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366284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0239648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42004343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406859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6723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96245665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02321222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80979526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69123429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610771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3513822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169829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675396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811066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52892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459895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515486890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734731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467894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063407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810255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508759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64465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418378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6054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135996704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633305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803849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142938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249550278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66820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00204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235092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551811543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43785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903488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784325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519873210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401564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840462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135469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2345887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60912270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31921961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6477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327942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2598475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93268631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84412808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26317096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304654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6006364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6542335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0929939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457319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4026023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23232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39930809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032921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4968419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5006198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16626700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7202759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364804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29202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196266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003479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610122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816925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631239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56310275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80134879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180846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80705097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6962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66854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480404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40837628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16491868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08080442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703759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45612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6895008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6124080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51633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397497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55788966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5931990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11356876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7708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841936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57172895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39721093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1835046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339907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799507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3659533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92746050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0369122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316946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763368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27695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7432665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7076550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41224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83478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704000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1567363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90860483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10877570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203114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6307572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38308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057978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567306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365208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675040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817864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00561757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32106959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4928667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843674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2357126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1666834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291502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448526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922665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97986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65500969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89988058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8122211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05900305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942367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3835907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772290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576183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19860647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783969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0931540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4/21/25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49324453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4/21/25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93456501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345395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9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31667580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3416656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2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2039373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9406053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78733287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217715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844434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18937466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31067326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52490377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46473715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391844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880593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91072110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28273241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578505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128339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419459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86418769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9616502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3225405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333023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614869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1/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318388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011529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01202245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453773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7906357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36941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47967665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2745296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12221051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8411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846292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374609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2991538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65748504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770836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363214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032156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41006194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56470498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21885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14632916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506628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91840987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569907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802131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515335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40638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5169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6422892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8726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340159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56463445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94681000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08587417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64469596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39296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84437598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5646730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7211408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38954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423504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3507627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49090712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66480917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42326803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603918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4626044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39523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4_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32842047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4448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196661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185761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345820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824815128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965407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11617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856288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663428808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957162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0024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7438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019119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51471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89422653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800152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273834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152272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33972553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286835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86895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377361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178859183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220072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117860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4432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111098753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074238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526937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69717128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2315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2078751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46883420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782719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291318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64378112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97319725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20448636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0586294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509459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0180137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4391394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7854572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24853919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4277206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937235494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5577216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2520413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657684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225009496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226449786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242239780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5844797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907898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52087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9110131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323334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199237938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246328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2652277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4/21/25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4717605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4/21/25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71517256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83093167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13299084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967382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8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47458968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90999899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74906362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18055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645493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9475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430975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563946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873867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085763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62299836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72184239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6130942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56933904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005084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57651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594705896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5356903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078596135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5761912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633923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490839"/>
      </p:ext>
    </p:extLst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92031464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63529018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75792855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02247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364536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9136511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9800674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607867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649472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37807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72771408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9955853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31856275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3332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115890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33004278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30_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1115551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117965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118576699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955610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44697496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341209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976320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9268978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010979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57225196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75923393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183372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96874563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1495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99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24" Type="http://schemas.openxmlformats.org/officeDocument/2006/relationships/slideLayout" Target="../slideLayouts/slideLayout324.xml"/><Relationship Id="rId366" Type="http://schemas.openxmlformats.org/officeDocument/2006/relationships/slideLayout" Target="../slideLayouts/slideLayout366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433" Type="http://schemas.openxmlformats.org/officeDocument/2006/relationships/slideLayout" Target="../slideLayouts/slideLayout433.xml"/><Relationship Id="rId268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32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335" Type="http://schemas.openxmlformats.org/officeDocument/2006/relationships/slideLayout" Target="../slideLayouts/slideLayout335.xml"/><Relationship Id="rId377" Type="http://schemas.openxmlformats.org/officeDocument/2006/relationships/slideLayout" Target="../slideLayouts/slideLayout377.xml"/><Relationship Id="rId5" Type="http://schemas.openxmlformats.org/officeDocument/2006/relationships/slideLayout" Target="../slideLayouts/slideLayout5.xml"/><Relationship Id="rId181" Type="http://schemas.openxmlformats.org/officeDocument/2006/relationships/slideLayout" Target="../slideLayouts/slideLayout181.xml"/><Relationship Id="rId237" Type="http://schemas.openxmlformats.org/officeDocument/2006/relationships/slideLayout" Target="../slideLayouts/slideLayout237.xml"/><Relationship Id="rId402" Type="http://schemas.openxmlformats.org/officeDocument/2006/relationships/slideLayout" Target="../slideLayouts/slideLayout402.xml"/><Relationship Id="rId279" Type="http://schemas.openxmlformats.org/officeDocument/2006/relationships/slideLayout" Target="../slideLayouts/slideLayout279.xml"/><Relationship Id="rId444" Type="http://schemas.openxmlformats.org/officeDocument/2006/relationships/slideLayout" Target="../slideLayouts/slideLayout444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46" Type="http://schemas.openxmlformats.org/officeDocument/2006/relationships/slideLayout" Target="../slideLayouts/slideLayout346.xml"/><Relationship Id="rId388" Type="http://schemas.openxmlformats.org/officeDocument/2006/relationships/slideLayout" Target="../slideLayouts/slideLayout388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413" Type="http://schemas.openxmlformats.org/officeDocument/2006/relationships/slideLayout" Target="../slideLayouts/slideLayout413.xml"/><Relationship Id="rId248" Type="http://schemas.openxmlformats.org/officeDocument/2006/relationships/slideLayout" Target="../slideLayouts/slideLayout248.xml"/><Relationship Id="rId455" Type="http://schemas.openxmlformats.org/officeDocument/2006/relationships/slideLayout" Target="../slideLayouts/slideLayout455.xml"/><Relationship Id="rId12" Type="http://schemas.openxmlformats.org/officeDocument/2006/relationships/slideLayout" Target="../slideLayouts/slideLayout12.xml"/><Relationship Id="rId108" Type="http://schemas.openxmlformats.org/officeDocument/2006/relationships/slideLayout" Target="../slideLayouts/slideLayout108.xml"/><Relationship Id="rId315" Type="http://schemas.openxmlformats.org/officeDocument/2006/relationships/slideLayout" Target="../slideLayouts/slideLayout315.xml"/><Relationship Id="rId357" Type="http://schemas.openxmlformats.org/officeDocument/2006/relationships/slideLayout" Target="../slideLayouts/slideLayout357.xml"/><Relationship Id="rId54" Type="http://schemas.openxmlformats.org/officeDocument/2006/relationships/slideLayout" Target="../slideLayouts/slideLayout54.xml"/><Relationship Id="rId96" Type="http://schemas.openxmlformats.org/officeDocument/2006/relationships/slideLayout" Target="../slideLayouts/slideLayout96.xml"/><Relationship Id="rId161" Type="http://schemas.openxmlformats.org/officeDocument/2006/relationships/slideLayout" Target="../slideLayouts/slideLayout161.xml"/><Relationship Id="rId217" Type="http://schemas.openxmlformats.org/officeDocument/2006/relationships/slideLayout" Target="../slideLayouts/slideLayout217.xml"/><Relationship Id="rId399" Type="http://schemas.openxmlformats.org/officeDocument/2006/relationships/slideLayout" Target="../slideLayouts/slideLayout399.xml"/><Relationship Id="rId259" Type="http://schemas.openxmlformats.org/officeDocument/2006/relationships/slideLayout" Target="../slideLayouts/slideLayout259.xml"/><Relationship Id="rId424" Type="http://schemas.openxmlformats.org/officeDocument/2006/relationships/slideLayout" Target="../slideLayouts/slideLayout424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326" Type="http://schemas.openxmlformats.org/officeDocument/2006/relationships/slideLayout" Target="../slideLayouts/slideLayout326.xml"/><Relationship Id="rId65" Type="http://schemas.openxmlformats.org/officeDocument/2006/relationships/slideLayout" Target="../slideLayouts/slideLayout65.xml"/><Relationship Id="rId130" Type="http://schemas.openxmlformats.org/officeDocument/2006/relationships/slideLayout" Target="../slideLayouts/slideLayout130.xml"/><Relationship Id="rId368" Type="http://schemas.openxmlformats.org/officeDocument/2006/relationships/slideLayout" Target="../slideLayouts/slideLayout368.xml"/><Relationship Id="rId172" Type="http://schemas.openxmlformats.org/officeDocument/2006/relationships/slideLayout" Target="../slideLayouts/slideLayout172.xml"/><Relationship Id="rId228" Type="http://schemas.openxmlformats.org/officeDocument/2006/relationships/slideLayout" Target="../slideLayouts/slideLayout228.xml"/><Relationship Id="rId435" Type="http://schemas.openxmlformats.org/officeDocument/2006/relationships/slideLayout" Target="../slideLayouts/slideLayout435.xml"/><Relationship Id="rId281" Type="http://schemas.openxmlformats.org/officeDocument/2006/relationships/slideLayout" Target="../slideLayouts/slideLayout281.xml"/><Relationship Id="rId337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4.xml"/><Relationship Id="rId76" Type="http://schemas.openxmlformats.org/officeDocument/2006/relationships/slideLayout" Target="../slideLayouts/slideLayout76.xml"/><Relationship Id="rId141" Type="http://schemas.openxmlformats.org/officeDocument/2006/relationships/slideLayout" Target="../slideLayouts/slideLayout141.xml"/><Relationship Id="rId379" Type="http://schemas.openxmlformats.org/officeDocument/2006/relationships/slideLayout" Target="../slideLayouts/slideLayout379.xml"/><Relationship Id="rId7" Type="http://schemas.openxmlformats.org/officeDocument/2006/relationships/slideLayout" Target="../slideLayouts/slideLayout7.xml"/><Relationship Id="rId183" Type="http://schemas.openxmlformats.org/officeDocument/2006/relationships/slideLayout" Target="../slideLayouts/slideLayout183.xml"/><Relationship Id="rId239" Type="http://schemas.openxmlformats.org/officeDocument/2006/relationships/slideLayout" Target="../slideLayouts/slideLayout239.xml"/><Relationship Id="rId390" Type="http://schemas.openxmlformats.org/officeDocument/2006/relationships/slideLayout" Target="../slideLayouts/slideLayout390.xml"/><Relationship Id="rId404" Type="http://schemas.openxmlformats.org/officeDocument/2006/relationships/slideLayout" Target="../slideLayouts/slideLayout404.xml"/><Relationship Id="rId446" Type="http://schemas.openxmlformats.org/officeDocument/2006/relationships/slideLayout" Target="../slideLayouts/slideLayout446.xml"/><Relationship Id="rId250" Type="http://schemas.openxmlformats.org/officeDocument/2006/relationships/slideLayout" Target="../slideLayouts/slideLayout250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45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348" Type="http://schemas.openxmlformats.org/officeDocument/2006/relationships/slideLayout" Target="../slideLayouts/slideLayout348.xml"/><Relationship Id="rId152" Type="http://schemas.openxmlformats.org/officeDocument/2006/relationships/slideLayout" Target="../slideLayouts/slideLayout152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415" Type="http://schemas.openxmlformats.org/officeDocument/2006/relationships/slideLayout" Target="../slideLayouts/slideLayout415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56" Type="http://schemas.openxmlformats.org/officeDocument/2006/relationships/slideLayout" Target="../slideLayouts/slideLayout56.xml"/><Relationship Id="rId317" Type="http://schemas.openxmlformats.org/officeDocument/2006/relationships/slideLayout" Target="../slideLayouts/slideLayout317.xml"/><Relationship Id="rId359" Type="http://schemas.openxmlformats.org/officeDocument/2006/relationships/slideLayout" Target="../slideLayouts/slideLayout359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63" Type="http://schemas.openxmlformats.org/officeDocument/2006/relationships/slideLayout" Target="../slideLayouts/slideLayout163.xml"/><Relationship Id="rId219" Type="http://schemas.openxmlformats.org/officeDocument/2006/relationships/slideLayout" Target="../slideLayouts/slideLayout219.xml"/><Relationship Id="rId370" Type="http://schemas.openxmlformats.org/officeDocument/2006/relationships/slideLayout" Target="../slideLayouts/slideLayout370.xml"/><Relationship Id="rId426" Type="http://schemas.openxmlformats.org/officeDocument/2006/relationships/slideLayout" Target="../slideLayouts/slideLayout426.xml"/><Relationship Id="rId230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5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328" Type="http://schemas.openxmlformats.org/officeDocument/2006/relationships/slideLayout" Target="../slideLayouts/slideLayout328.xml"/><Relationship Id="rId132" Type="http://schemas.openxmlformats.org/officeDocument/2006/relationships/slideLayout" Target="../slideLayouts/slideLayout132.xml"/><Relationship Id="rId174" Type="http://schemas.openxmlformats.org/officeDocument/2006/relationships/slideLayout" Target="../slideLayouts/slideLayout174.xml"/><Relationship Id="rId381" Type="http://schemas.openxmlformats.org/officeDocument/2006/relationships/slideLayout" Target="../slideLayouts/slideLayout381.xml"/><Relationship Id="rId241" Type="http://schemas.openxmlformats.org/officeDocument/2006/relationships/slideLayout" Target="../slideLayouts/slideLayout241.xml"/><Relationship Id="rId437" Type="http://schemas.openxmlformats.org/officeDocument/2006/relationships/slideLayout" Target="../slideLayouts/slideLayout437.xml"/><Relationship Id="rId36" Type="http://schemas.openxmlformats.org/officeDocument/2006/relationships/slideLayout" Target="../slideLayouts/slideLayout36.xml"/><Relationship Id="rId283" Type="http://schemas.openxmlformats.org/officeDocument/2006/relationships/slideLayout" Target="../slideLayouts/slideLayout283.xml"/><Relationship Id="rId339" Type="http://schemas.openxmlformats.org/officeDocument/2006/relationships/slideLayout" Target="../slideLayouts/slideLayout339.xml"/><Relationship Id="rId78" Type="http://schemas.openxmlformats.org/officeDocument/2006/relationships/slideLayout" Target="../slideLayouts/slideLayout78.xml"/><Relationship Id="rId101" Type="http://schemas.openxmlformats.org/officeDocument/2006/relationships/slideLayout" Target="../slideLayouts/slideLayout101.xml"/><Relationship Id="rId143" Type="http://schemas.openxmlformats.org/officeDocument/2006/relationships/slideLayout" Target="../slideLayouts/slideLayout143.xml"/><Relationship Id="rId185" Type="http://schemas.openxmlformats.org/officeDocument/2006/relationships/slideLayout" Target="../slideLayouts/slideLayout185.xml"/><Relationship Id="rId350" Type="http://schemas.openxmlformats.org/officeDocument/2006/relationships/slideLayout" Target="../slideLayouts/slideLayout350.xml"/><Relationship Id="rId406" Type="http://schemas.openxmlformats.org/officeDocument/2006/relationships/slideLayout" Target="../slideLayouts/slideLayout406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392" Type="http://schemas.openxmlformats.org/officeDocument/2006/relationships/slideLayout" Target="../slideLayouts/slideLayout392.xml"/><Relationship Id="rId448" Type="http://schemas.openxmlformats.org/officeDocument/2006/relationships/slideLayout" Target="../slideLayouts/slideLayout448.xml"/><Relationship Id="rId252" Type="http://schemas.openxmlformats.org/officeDocument/2006/relationships/slideLayout" Target="../slideLayouts/slideLayout252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47" Type="http://schemas.openxmlformats.org/officeDocument/2006/relationships/slideLayout" Target="../slideLayouts/slideLayout47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54" Type="http://schemas.openxmlformats.org/officeDocument/2006/relationships/slideLayout" Target="../slideLayouts/slideLayout154.xml"/><Relationship Id="rId361" Type="http://schemas.openxmlformats.org/officeDocument/2006/relationships/slideLayout" Target="../slideLayouts/slideLayout361.xml"/><Relationship Id="rId196" Type="http://schemas.openxmlformats.org/officeDocument/2006/relationships/slideLayout" Target="../slideLayouts/slideLayout196.xml"/><Relationship Id="rId417" Type="http://schemas.openxmlformats.org/officeDocument/2006/relationships/slideLayout" Target="../slideLayouts/slideLayout417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63" Type="http://schemas.openxmlformats.org/officeDocument/2006/relationships/slideLayout" Target="../slideLayouts/slideLayout263.xml"/><Relationship Id="rId319" Type="http://schemas.openxmlformats.org/officeDocument/2006/relationships/slideLayout" Target="../slideLayouts/slideLayout319.xml"/><Relationship Id="rId58" Type="http://schemas.openxmlformats.org/officeDocument/2006/relationships/slideLayout" Target="../slideLayouts/slideLayout58.xml"/><Relationship Id="rId123" Type="http://schemas.openxmlformats.org/officeDocument/2006/relationships/slideLayout" Target="../slideLayouts/slideLayout123.xml"/><Relationship Id="rId330" Type="http://schemas.openxmlformats.org/officeDocument/2006/relationships/slideLayout" Target="../slideLayouts/slideLayout330.xml"/><Relationship Id="rId165" Type="http://schemas.openxmlformats.org/officeDocument/2006/relationships/slideLayout" Target="../slideLayouts/slideLayout165.xml"/><Relationship Id="rId372" Type="http://schemas.openxmlformats.org/officeDocument/2006/relationships/slideLayout" Target="../slideLayouts/slideLayout372.xml"/><Relationship Id="rId428" Type="http://schemas.openxmlformats.org/officeDocument/2006/relationships/slideLayout" Target="../slideLayouts/slideLayout428.xml"/><Relationship Id="rId232" Type="http://schemas.openxmlformats.org/officeDocument/2006/relationships/slideLayout" Target="../slideLayouts/slideLayout232.xml"/><Relationship Id="rId274" Type="http://schemas.openxmlformats.org/officeDocument/2006/relationships/slideLayout" Target="../slideLayouts/slideLayout274.xml"/><Relationship Id="rId27" Type="http://schemas.openxmlformats.org/officeDocument/2006/relationships/slideLayout" Target="../slideLayouts/slideLayout27.xml"/><Relationship Id="rId69" Type="http://schemas.openxmlformats.org/officeDocument/2006/relationships/slideLayout" Target="../slideLayouts/slideLayout69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76" Type="http://schemas.openxmlformats.org/officeDocument/2006/relationships/slideLayout" Target="../slideLayouts/slideLayout176.xml"/><Relationship Id="rId341" Type="http://schemas.openxmlformats.org/officeDocument/2006/relationships/slideLayout" Target="../slideLayouts/slideLayout341.xml"/><Relationship Id="rId383" Type="http://schemas.openxmlformats.org/officeDocument/2006/relationships/slideLayout" Target="../slideLayouts/slideLayout383.xml"/><Relationship Id="rId439" Type="http://schemas.openxmlformats.org/officeDocument/2006/relationships/slideLayout" Target="../slideLayouts/slideLayout439.xml"/><Relationship Id="rId201" Type="http://schemas.openxmlformats.org/officeDocument/2006/relationships/slideLayout" Target="../slideLayouts/slideLayout201.xml"/><Relationship Id="rId243" Type="http://schemas.openxmlformats.org/officeDocument/2006/relationships/slideLayout" Target="../slideLayouts/slideLayout243.xml"/><Relationship Id="rId285" Type="http://schemas.openxmlformats.org/officeDocument/2006/relationships/slideLayout" Target="../slideLayouts/slideLayout285.xml"/><Relationship Id="rId450" Type="http://schemas.openxmlformats.org/officeDocument/2006/relationships/slideLayout" Target="../slideLayouts/slideLayout450.xml"/><Relationship Id="rId38" Type="http://schemas.openxmlformats.org/officeDocument/2006/relationships/slideLayout" Target="../slideLayouts/slideLayout38.xml"/><Relationship Id="rId103" Type="http://schemas.openxmlformats.org/officeDocument/2006/relationships/slideLayout" Target="../slideLayouts/slideLayout103.xml"/><Relationship Id="rId310" Type="http://schemas.openxmlformats.org/officeDocument/2006/relationships/slideLayout" Target="../slideLayouts/slideLayout31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87" Type="http://schemas.openxmlformats.org/officeDocument/2006/relationships/slideLayout" Target="../slideLayouts/slideLayout187.xml"/><Relationship Id="rId352" Type="http://schemas.openxmlformats.org/officeDocument/2006/relationships/slideLayout" Target="../slideLayouts/slideLayout352.xml"/><Relationship Id="rId394" Type="http://schemas.openxmlformats.org/officeDocument/2006/relationships/slideLayout" Target="../slideLayouts/slideLayout394.xml"/><Relationship Id="rId408" Type="http://schemas.openxmlformats.org/officeDocument/2006/relationships/slideLayout" Target="../slideLayouts/slideLayout408.xml"/><Relationship Id="rId212" Type="http://schemas.openxmlformats.org/officeDocument/2006/relationships/slideLayout" Target="../slideLayouts/slideLayout212.xml"/><Relationship Id="rId254" Type="http://schemas.openxmlformats.org/officeDocument/2006/relationships/slideLayout" Target="../slideLayouts/slideLayout254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96" Type="http://schemas.openxmlformats.org/officeDocument/2006/relationships/slideLayout" Target="../slideLayouts/slideLayout296.xml"/><Relationship Id="rId60" Type="http://schemas.openxmlformats.org/officeDocument/2006/relationships/slideLayout" Target="../slideLayouts/slideLayout60.xml"/><Relationship Id="rId156" Type="http://schemas.openxmlformats.org/officeDocument/2006/relationships/slideLayout" Target="../slideLayouts/slideLayout156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63" Type="http://schemas.openxmlformats.org/officeDocument/2006/relationships/slideLayout" Target="../slideLayouts/slideLayout363.xml"/><Relationship Id="rId419" Type="http://schemas.openxmlformats.org/officeDocument/2006/relationships/slideLayout" Target="../slideLayouts/slideLayout419.xml"/><Relationship Id="rId223" Type="http://schemas.openxmlformats.org/officeDocument/2006/relationships/slideLayout" Target="../slideLayouts/slideLayout223.xml"/><Relationship Id="rId430" Type="http://schemas.openxmlformats.org/officeDocument/2006/relationships/slideLayout" Target="../slideLayouts/slideLayout430.xml"/><Relationship Id="rId18" Type="http://schemas.openxmlformats.org/officeDocument/2006/relationships/slideLayout" Target="../slideLayouts/slideLayout18.xml"/><Relationship Id="rId265" Type="http://schemas.openxmlformats.org/officeDocument/2006/relationships/slideLayout" Target="../slideLayouts/slideLayout265.xml"/><Relationship Id="rId125" Type="http://schemas.openxmlformats.org/officeDocument/2006/relationships/slideLayout" Target="../slideLayouts/slideLayout125.xml"/><Relationship Id="rId167" Type="http://schemas.openxmlformats.org/officeDocument/2006/relationships/slideLayout" Target="../slideLayouts/slideLayout167.xml"/><Relationship Id="rId332" Type="http://schemas.openxmlformats.org/officeDocument/2006/relationships/slideLayout" Target="../slideLayouts/slideLayout332.xml"/><Relationship Id="rId374" Type="http://schemas.openxmlformats.org/officeDocument/2006/relationships/slideLayout" Target="../slideLayouts/slideLayout374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420" Type="http://schemas.openxmlformats.org/officeDocument/2006/relationships/slideLayout" Target="../slideLayouts/slideLayout420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276" Type="http://schemas.openxmlformats.org/officeDocument/2006/relationships/slideLayout" Target="../slideLayouts/slideLayout276.xml"/><Relationship Id="rId297" Type="http://schemas.openxmlformats.org/officeDocument/2006/relationships/slideLayout" Target="../slideLayouts/slideLayout297.xml"/><Relationship Id="rId441" Type="http://schemas.openxmlformats.org/officeDocument/2006/relationships/slideLayout" Target="../slideLayouts/slideLayout441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22" Type="http://schemas.openxmlformats.org/officeDocument/2006/relationships/slideLayout" Target="../slideLayouts/slideLayout322.xml"/><Relationship Id="rId343" Type="http://schemas.openxmlformats.org/officeDocument/2006/relationships/slideLayout" Target="../slideLayouts/slideLayout343.xml"/><Relationship Id="rId364" Type="http://schemas.openxmlformats.org/officeDocument/2006/relationships/slideLayout" Target="../slideLayouts/slideLayout364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385" Type="http://schemas.openxmlformats.org/officeDocument/2006/relationships/slideLayout" Target="../slideLayouts/slideLayout385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287" Type="http://schemas.openxmlformats.org/officeDocument/2006/relationships/slideLayout" Target="../slideLayouts/slideLayout287.xml"/><Relationship Id="rId410" Type="http://schemas.openxmlformats.org/officeDocument/2006/relationships/slideLayout" Target="../slideLayouts/slideLayout410.xml"/><Relationship Id="rId431" Type="http://schemas.openxmlformats.org/officeDocument/2006/relationships/slideLayout" Target="../slideLayouts/slideLayout431.xml"/><Relationship Id="rId452" Type="http://schemas.openxmlformats.org/officeDocument/2006/relationships/slideLayout" Target="../slideLayouts/slideLayout452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312" Type="http://schemas.openxmlformats.org/officeDocument/2006/relationships/slideLayout" Target="../slideLayouts/slideLayout312.xml"/><Relationship Id="rId333" Type="http://schemas.openxmlformats.org/officeDocument/2006/relationships/slideLayout" Target="../slideLayouts/slideLayout333.xml"/><Relationship Id="rId354" Type="http://schemas.openxmlformats.org/officeDocument/2006/relationships/slideLayout" Target="../slideLayouts/slideLayout354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75" Type="http://schemas.openxmlformats.org/officeDocument/2006/relationships/slideLayout" Target="../slideLayouts/slideLayout375.xml"/><Relationship Id="rId396" Type="http://schemas.openxmlformats.org/officeDocument/2006/relationships/slideLayout" Target="../slideLayouts/slideLayout396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277" Type="http://schemas.openxmlformats.org/officeDocument/2006/relationships/slideLayout" Target="../slideLayouts/slideLayout277.xml"/><Relationship Id="rId298" Type="http://schemas.openxmlformats.org/officeDocument/2006/relationships/slideLayout" Target="../slideLayouts/slideLayout298.xml"/><Relationship Id="rId400" Type="http://schemas.openxmlformats.org/officeDocument/2006/relationships/slideLayout" Target="../slideLayouts/slideLayout400.xml"/><Relationship Id="rId421" Type="http://schemas.openxmlformats.org/officeDocument/2006/relationships/slideLayout" Target="../slideLayouts/slideLayout421.xml"/><Relationship Id="rId442" Type="http://schemas.openxmlformats.org/officeDocument/2006/relationships/slideLayout" Target="../slideLayouts/slideLayout442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302" Type="http://schemas.openxmlformats.org/officeDocument/2006/relationships/slideLayout" Target="../slideLayouts/slideLayout302.xml"/><Relationship Id="rId323" Type="http://schemas.openxmlformats.org/officeDocument/2006/relationships/slideLayout" Target="../slideLayouts/slideLayout323.xml"/><Relationship Id="rId344" Type="http://schemas.openxmlformats.org/officeDocument/2006/relationships/slideLayout" Target="../slideLayouts/slideLayout344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365" Type="http://schemas.openxmlformats.org/officeDocument/2006/relationships/slideLayout" Target="../slideLayouts/slideLayout365.xml"/><Relationship Id="rId386" Type="http://schemas.openxmlformats.org/officeDocument/2006/relationships/slideLayout" Target="../slideLayouts/slideLayout386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288" Type="http://schemas.openxmlformats.org/officeDocument/2006/relationships/slideLayout" Target="../slideLayouts/slideLayout288.xml"/><Relationship Id="rId411" Type="http://schemas.openxmlformats.org/officeDocument/2006/relationships/slideLayout" Target="../slideLayouts/slideLayout411.xml"/><Relationship Id="rId432" Type="http://schemas.openxmlformats.org/officeDocument/2006/relationships/slideLayout" Target="../slideLayouts/slideLayout432.xml"/><Relationship Id="rId453" Type="http://schemas.openxmlformats.org/officeDocument/2006/relationships/slideLayout" Target="../slideLayouts/slideLayout453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313" Type="http://schemas.openxmlformats.org/officeDocument/2006/relationships/slideLayout" Target="../slideLayouts/slideLayout313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355" Type="http://schemas.openxmlformats.org/officeDocument/2006/relationships/slideLayout" Target="../slideLayouts/slideLayout355.xml"/><Relationship Id="rId376" Type="http://schemas.openxmlformats.org/officeDocument/2006/relationships/slideLayout" Target="../slideLayouts/slideLayout376.xml"/><Relationship Id="rId397" Type="http://schemas.openxmlformats.org/officeDocument/2006/relationships/slideLayout" Target="../slideLayouts/slideLayout397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278" Type="http://schemas.openxmlformats.org/officeDocument/2006/relationships/slideLayout" Target="../slideLayouts/slideLayout278.xml"/><Relationship Id="rId401" Type="http://schemas.openxmlformats.org/officeDocument/2006/relationships/slideLayout" Target="../slideLayouts/slideLayout401.xml"/><Relationship Id="rId422" Type="http://schemas.openxmlformats.org/officeDocument/2006/relationships/slideLayout" Target="../slideLayouts/slideLayout422.xml"/><Relationship Id="rId443" Type="http://schemas.openxmlformats.org/officeDocument/2006/relationships/slideLayout" Target="../slideLayouts/slideLayout443.xml"/><Relationship Id="rId303" Type="http://schemas.openxmlformats.org/officeDocument/2006/relationships/slideLayout" Target="../slideLayouts/slideLayout303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345" Type="http://schemas.openxmlformats.org/officeDocument/2006/relationships/slideLayout" Target="../slideLayouts/slideLayout345.xml"/><Relationship Id="rId387" Type="http://schemas.openxmlformats.org/officeDocument/2006/relationships/slideLayout" Target="../slideLayouts/slideLayout387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412" Type="http://schemas.openxmlformats.org/officeDocument/2006/relationships/slideLayout" Target="../slideLayouts/slideLayout412.xml"/><Relationship Id="rId107" Type="http://schemas.openxmlformats.org/officeDocument/2006/relationships/slideLayout" Target="../slideLayouts/slideLayout107.xml"/><Relationship Id="rId289" Type="http://schemas.openxmlformats.org/officeDocument/2006/relationships/slideLayout" Target="../slideLayouts/slideLayout289.xml"/><Relationship Id="rId454" Type="http://schemas.openxmlformats.org/officeDocument/2006/relationships/slideLayout" Target="../slideLayouts/slideLayout454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56" Type="http://schemas.openxmlformats.org/officeDocument/2006/relationships/slideLayout" Target="../slideLayouts/slideLayout356.xml"/><Relationship Id="rId398" Type="http://schemas.openxmlformats.org/officeDocument/2006/relationships/slideLayout" Target="../slideLayouts/slideLayout398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423" Type="http://schemas.openxmlformats.org/officeDocument/2006/relationships/slideLayout" Target="../slideLayouts/slideLayout423.xml"/><Relationship Id="rId258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325" Type="http://schemas.openxmlformats.org/officeDocument/2006/relationships/slideLayout" Target="../slideLayouts/slideLayout325.xml"/><Relationship Id="rId367" Type="http://schemas.openxmlformats.org/officeDocument/2006/relationships/slideLayout" Target="../slideLayouts/slideLayout367.xml"/><Relationship Id="rId171" Type="http://schemas.openxmlformats.org/officeDocument/2006/relationships/slideLayout" Target="../slideLayouts/slideLayout171.xml"/><Relationship Id="rId227" Type="http://schemas.openxmlformats.org/officeDocument/2006/relationships/slideLayout" Target="../slideLayouts/slideLayout227.xml"/><Relationship Id="rId269" Type="http://schemas.openxmlformats.org/officeDocument/2006/relationships/slideLayout" Target="../slideLayouts/slideLayout269.xml"/><Relationship Id="rId434" Type="http://schemas.openxmlformats.org/officeDocument/2006/relationships/slideLayout" Target="../slideLayouts/slideLayout434.xml"/><Relationship Id="rId33" Type="http://schemas.openxmlformats.org/officeDocument/2006/relationships/slideLayout" Target="../slideLayouts/slideLayout33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36" Type="http://schemas.openxmlformats.org/officeDocument/2006/relationships/slideLayout" Target="../slideLayouts/slideLayout336.xml"/><Relationship Id="rId75" Type="http://schemas.openxmlformats.org/officeDocument/2006/relationships/slideLayout" Target="../slideLayouts/slideLayout75.xml"/><Relationship Id="rId140" Type="http://schemas.openxmlformats.org/officeDocument/2006/relationships/slideLayout" Target="../slideLayouts/slideLayout140.xml"/><Relationship Id="rId182" Type="http://schemas.openxmlformats.org/officeDocument/2006/relationships/slideLayout" Target="../slideLayouts/slideLayout182.xml"/><Relationship Id="rId378" Type="http://schemas.openxmlformats.org/officeDocument/2006/relationships/slideLayout" Target="../slideLayouts/slideLayout378.xml"/><Relationship Id="rId403" Type="http://schemas.openxmlformats.org/officeDocument/2006/relationships/slideLayout" Target="../slideLayouts/slideLayout403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445" Type="http://schemas.openxmlformats.org/officeDocument/2006/relationships/slideLayout" Target="../slideLayouts/slideLayout445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47" Type="http://schemas.openxmlformats.org/officeDocument/2006/relationships/slideLayout" Target="../slideLayouts/slideLayout347.xml"/><Relationship Id="rId44" Type="http://schemas.openxmlformats.org/officeDocument/2006/relationships/slideLayout" Target="../slideLayouts/slideLayout44.xml"/><Relationship Id="rId86" Type="http://schemas.openxmlformats.org/officeDocument/2006/relationships/slideLayout" Target="../slideLayouts/slideLayout86.xml"/><Relationship Id="rId151" Type="http://schemas.openxmlformats.org/officeDocument/2006/relationships/slideLayout" Target="../slideLayouts/slideLayout151.xml"/><Relationship Id="rId389" Type="http://schemas.openxmlformats.org/officeDocument/2006/relationships/slideLayout" Target="../slideLayouts/slideLayout389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49" Type="http://schemas.openxmlformats.org/officeDocument/2006/relationships/slideLayout" Target="../slideLayouts/slideLayout249.xml"/><Relationship Id="rId414" Type="http://schemas.openxmlformats.org/officeDocument/2006/relationships/slideLayout" Target="../slideLayouts/slideLayout414.xml"/><Relationship Id="rId456" Type="http://schemas.openxmlformats.org/officeDocument/2006/relationships/theme" Target="../theme/theme1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16" Type="http://schemas.openxmlformats.org/officeDocument/2006/relationships/slideLayout" Target="../slideLayouts/slideLayout316.xml"/><Relationship Id="rId55" Type="http://schemas.openxmlformats.org/officeDocument/2006/relationships/slideLayout" Target="../slideLayouts/slideLayout55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358" Type="http://schemas.openxmlformats.org/officeDocument/2006/relationships/slideLayout" Target="../slideLayouts/slideLayout358.xml"/><Relationship Id="rId162" Type="http://schemas.openxmlformats.org/officeDocument/2006/relationships/slideLayout" Target="../slideLayouts/slideLayout162.xml"/><Relationship Id="rId218" Type="http://schemas.openxmlformats.org/officeDocument/2006/relationships/slideLayout" Target="../slideLayouts/slideLayout218.xml"/><Relationship Id="rId425" Type="http://schemas.openxmlformats.org/officeDocument/2006/relationships/slideLayout" Target="../slideLayouts/slideLayout425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66" Type="http://schemas.openxmlformats.org/officeDocument/2006/relationships/slideLayout" Target="../slideLayouts/slideLayout66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369" Type="http://schemas.openxmlformats.org/officeDocument/2006/relationships/slideLayout" Target="../slideLayouts/slideLayout369.xml"/><Relationship Id="rId173" Type="http://schemas.openxmlformats.org/officeDocument/2006/relationships/slideLayout" Target="../slideLayouts/slideLayout173.xml"/><Relationship Id="rId229" Type="http://schemas.openxmlformats.org/officeDocument/2006/relationships/slideLayout" Target="../slideLayouts/slideLayout229.xml"/><Relationship Id="rId380" Type="http://schemas.openxmlformats.org/officeDocument/2006/relationships/slideLayout" Target="../slideLayouts/slideLayout380.xml"/><Relationship Id="rId436" Type="http://schemas.openxmlformats.org/officeDocument/2006/relationships/slideLayout" Target="../slideLayouts/slideLayout436.xml"/><Relationship Id="rId240" Type="http://schemas.openxmlformats.org/officeDocument/2006/relationships/slideLayout" Target="../slideLayouts/slideLayout240.xml"/><Relationship Id="rId35" Type="http://schemas.openxmlformats.org/officeDocument/2006/relationships/slideLayout" Target="../slideLayouts/slideLayout35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38" Type="http://schemas.openxmlformats.org/officeDocument/2006/relationships/slideLayout" Target="../slideLayouts/slideLayout338.xml"/><Relationship Id="rId8" Type="http://schemas.openxmlformats.org/officeDocument/2006/relationships/slideLayout" Target="../slideLayouts/slideLayout8.xml"/><Relationship Id="rId142" Type="http://schemas.openxmlformats.org/officeDocument/2006/relationships/slideLayout" Target="../slideLayouts/slideLayout142.xml"/><Relationship Id="rId184" Type="http://schemas.openxmlformats.org/officeDocument/2006/relationships/slideLayout" Target="../slideLayouts/slideLayout184.xml"/><Relationship Id="rId391" Type="http://schemas.openxmlformats.org/officeDocument/2006/relationships/slideLayout" Target="../slideLayouts/slideLayout391.xml"/><Relationship Id="rId405" Type="http://schemas.openxmlformats.org/officeDocument/2006/relationships/slideLayout" Target="../slideLayouts/slideLayout405.xml"/><Relationship Id="rId447" Type="http://schemas.openxmlformats.org/officeDocument/2006/relationships/slideLayout" Target="../slideLayouts/slideLayout447.xml"/><Relationship Id="rId251" Type="http://schemas.openxmlformats.org/officeDocument/2006/relationships/slideLayout" Target="../slideLayouts/slideLayout251.xml"/><Relationship Id="rId46" Type="http://schemas.openxmlformats.org/officeDocument/2006/relationships/slideLayout" Target="../slideLayouts/slideLayout46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49" Type="http://schemas.openxmlformats.org/officeDocument/2006/relationships/slideLayout" Target="../slideLayouts/slideLayout349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3" Type="http://schemas.openxmlformats.org/officeDocument/2006/relationships/slideLayout" Target="../slideLayouts/slideLayout153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360" Type="http://schemas.openxmlformats.org/officeDocument/2006/relationships/slideLayout" Target="../slideLayouts/slideLayout360.xml"/><Relationship Id="rId416" Type="http://schemas.openxmlformats.org/officeDocument/2006/relationships/slideLayout" Target="../slideLayouts/slideLayout416.xml"/><Relationship Id="rId220" Type="http://schemas.openxmlformats.org/officeDocument/2006/relationships/slideLayout" Target="../slideLayouts/slideLayout220.xml"/><Relationship Id="rId15" Type="http://schemas.openxmlformats.org/officeDocument/2006/relationships/slideLayout" Target="../slideLayouts/slideLayout15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318" Type="http://schemas.openxmlformats.org/officeDocument/2006/relationships/slideLayout" Target="../slideLayouts/slideLayout318.xml"/><Relationship Id="rId99" Type="http://schemas.openxmlformats.org/officeDocument/2006/relationships/slideLayout" Target="../slideLayouts/slideLayout99.xml"/><Relationship Id="rId122" Type="http://schemas.openxmlformats.org/officeDocument/2006/relationships/slideLayout" Target="../slideLayouts/slideLayout122.xml"/><Relationship Id="rId164" Type="http://schemas.openxmlformats.org/officeDocument/2006/relationships/slideLayout" Target="../slideLayouts/slideLayout164.xml"/><Relationship Id="rId371" Type="http://schemas.openxmlformats.org/officeDocument/2006/relationships/slideLayout" Target="../slideLayouts/slideLayout371.xml"/><Relationship Id="rId427" Type="http://schemas.openxmlformats.org/officeDocument/2006/relationships/slideLayout" Target="../slideLayouts/slideLayout427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73" Type="http://schemas.openxmlformats.org/officeDocument/2006/relationships/slideLayout" Target="../slideLayouts/slideLayout273.xml"/><Relationship Id="rId329" Type="http://schemas.openxmlformats.org/officeDocument/2006/relationships/slideLayout" Target="../slideLayouts/slideLayout329.xml"/><Relationship Id="rId68" Type="http://schemas.openxmlformats.org/officeDocument/2006/relationships/slideLayout" Target="../slideLayouts/slideLayout68.xml"/><Relationship Id="rId133" Type="http://schemas.openxmlformats.org/officeDocument/2006/relationships/slideLayout" Target="../slideLayouts/slideLayout133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200" Type="http://schemas.openxmlformats.org/officeDocument/2006/relationships/slideLayout" Target="../slideLayouts/slideLayout200.xml"/><Relationship Id="rId382" Type="http://schemas.openxmlformats.org/officeDocument/2006/relationships/slideLayout" Target="../slideLayouts/slideLayout382.xml"/><Relationship Id="rId438" Type="http://schemas.openxmlformats.org/officeDocument/2006/relationships/slideLayout" Target="../slideLayouts/slideLayout438.xml"/><Relationship Id="rId242" Type="http://schemas.openxmlformats.org/officeDocument/2006/relationships/slideLayout" Target="../slideLayouts/slideLayout242.xml"/><Relationship Id="rId284" Type="http://schemas.openxmlformats.org/officeDocument/2006/relationships/slideLayout" Target="../slideLayouts/slideLayout284.xml"/><Relationship Id="rId37" Type="http://schemas.openxmlformats.org/officeDocument/2006/relationships/slideLayout" Target="../slideLayouts/slideLayout37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86" Type="http://schemas.openxmlformats.org/officeDocument/2006/relationships/slideLayout" Target="../slideLayouts/slideLayout186.xml"/><Relationship Id="rId351" Type="http://schemas.openxmlformats.org/officeDocument/2006/relationships/slideLayout" Target="../slideLayouts/slideLayout351.xml"/><Relationship Id="rId393" Type="http://schemas.openxmlformats.org/officeDocument/2006/relationships/slideLayout" Target="../slideLayouts/slideLayout393.xml"/><Relationship Id="rId407" Type="http://schemas.openxmlformats.org/officeDocument/2006/relationships/slideLayout" Target="../slideLayouts/slideLayout407.xml"/><Relationship Id="rId449" Type="http://schemas.openxmlformats.org/officeDocument/2006/relationships/slideLayout" Target="../slideLayouts/slideLayout449.xml"/><Relationship Id="rId211" Type="http://schemas.openxmlformats.org/officeDocument/2006/relationships/slideLayout" Target="../slideLayouts/slideLayout211.xml"/><Relationship Id="rId253" Type="http://schemas.openxmlformats.org/officeDocument/2006/relationships/slideLayout" Target="../slideLayouts/slideLayout253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48" Type="http://schemas.openxmlformats.org/officeDocument/2006/relationships/slideLayout" Target="../slideLayouts/slideLayout48.xml"/><Relationship Id="rId113" Type="http://schemas.openxmlformats.org/officeDocument/2006/relationships/slideLayout" Target="../slideLayouts/slideLayout113.xml"/><Relationship Id="rId320" Type="http://schemas.openxmlformats.org/officeDocument/2006/relationships/slideLayout" Target="../slideLayouts/slideLayout320.xml"/><Relationship Id="rId155" Type="http://schemas.openxmlformats.org/officeDocument/2006/relationships/slideLayout" Target="../slideLayouts/slideLayout155.xml"/><Relationship Id="rId197" Type="http://schemas.openxmlformats.org/officeDocument/2006/relationships/slideLayout" Target="../slideLayouts/slideLayout197.xml"/><Relationship Id="rId362" Type="http://schemas.openxmlformats.org/officeDocument/2006/relationships/slideLayout" Target="../slideLayouts/slideLayout362.xml"/><Relationship Id="rId418" Type="http://schemas.openxmlformats.org/officeDocument/2006/relationships/slideLayout" Target="../slideLayouts/slideLayout418.xml"/><Relationship Id="rId222" Type="http://schemas.openxmlformats.org/officeDocument/2006/relationships/slideLayout" Target="../slideLayouts/slideLayout222.xml"/><Relationship Id="rId264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17.xml"/><Relationship Id="rId59" Type="http://schemas.openxmlformats.org/officeDocument/2006/relationships/slideLayout" Target="../slideLayouts/slideLayout59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166" Type="http://schemas.openxmlformats.org/officeDocument/2006/relationships/slideLayout" Target="../slideLayouts/slideLayout166.xml"/><Relationship Id="rId331" Type="http://schemas.openxmlformats.org/officeDocument/2006/relationships/slideLayout" Target="../slideLayouts/slideLayout331.xml"/><Relationship Id="rId373" Type="http://schemas.openxmlformats.org/officeDocument/2006/relationships/slideLayout" Target="../slideLayouts/slideLayout373.xml"/><Relationship Id="rId429" Type="http://schemas.openxmlformats.org/officeDocument/2006/relationships/slideLayout" Target="../slideLayouts/slideLayout429.xml"/><Relationship Id="rId1" Type="http://schemas.openxmlformats.org/officeDocument/2006/relationships/slideLayout" Target="../slideLayouts/slideLayout1.xml"/><Relationship Id="rId233" Type="http://schemas.openxmlformats.org/officeDocument/2006/relationships/slideLayout" Target="../slideLayouts/slideLayout233.xml"/><Relationship Id="rId440" Type="http://schemas.openxmlformats.org/officeDocument/2006/relationships/slideLayout" Target="../slideLayouts/slideLayout440.xml"/><Relationship Id="rId28" Type="http://schemas.openxmlformats.org/officeDocument/2006/relationships/slideLayout" Target="../slideLayouts/slideLayout28.xml"/><Relationship Id="rId275" Type="http://schemas.openxmlformats.org/officeDocument/2006/relationships/slideLayout" Target="../slideLayouts/slideLayout275.xml"/><Relationship Id="rId300" Type="http://schemas.openxmlformats.org/officeDocument/2006/relationships/slideLayout" Target="../slideLayouts/slideLayout30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77" Type="http://schemas.openxmlformats.org/officeDocument/2006/relationships/slideLayout" Target="../slideLayouts/slideLayout177.xml"/><Relationship Id="rId342" Type="http://schemas.openxmlformats.org/officeDocument/2006/relationships/slideLayout" Target="../slideLayouts/slideLayout342.xml"/><Relationship Id="rId384" Type="http://schemas.openxmlformats.org/officeDocument/2006/relationships/slideLayout" Target="../slideLayouts/slideLayout384.xml"/><Relationship Id="rId202" Type="http://schemas.openxmlformats.org/officeDocument/2006/relationships/slideLayout" Target="../slideLayouts/slideLayout202.xml"/><Relationship Id="rId244" Type="http://schemas.openxmlformats.org/officeDocument/2006/relationships/slideLayout" Target="../slideLayouts/slideLayout244.xml"/><Relationship Id="rId39" Type="http://schemas.openxmlformats.org/officeDocument/2006/relationships/slideLayout" Target="../slideLayouts/slideLayout39.xml"/><Relationship Id="rId286" Type="http://schemas.openxmlformats.org/officeDocument/2006/relationships/slideLayout" Target="../slideLayouts/slideLayout286.xml"/><Relationship Id="rId451" Type="http://schemas.openxmlformats.org/officeDocument/2006/relationships/slideLayout" Target="../slideLayouts/slideLayout451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46" Type="http://schemas.openxmlformats.org/officeDocument/2006/relationships/slideLayout" Target="../slideLayouts/slideLayout146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53" Type="http://schemas.openxmlformats.org/officeDocument/2006/relationships/slideLayout" Target="../slideLayouts/slideLayout353.xml"/><Relationship Id="rId395" Type="http://schemas.openxmlformats.org/officeDocument/2006/relationships/slideLayout" Target="../slideLayouts/slideLayout395.xml"/><Relationship Id="rId409" Type="http://schemas.openxmlformats.org/officeDocument/2006/relationships/slideLayout" Target="../slideLayouts/slideLayout40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58.xml"/><Relationship Id="rId7" Type="http://schemas.openxmlformats.org/officeDocument/2006/relationships/slideLayout" Target="../slideLayouts/slideLayout462.xml"/><Relationship Id="rId12" Type="http://schemas.openxmlformats.org/officeDocument/2006/relationships/slideLayout" Target="../slideLayouts/slideLayout467.xml"/><Relationship Id="rId2" Type="http://schemas.openxmlformats.org/officeDocument/2006/relationships/slideLayout" Target="../slideLayouts/slideLayout457.xml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slideLayout" Target="../slideLayouts/slideLayout466.xml"/><Relationship Id="rId5" Type="http://schemas.openxmlformats.org/officeDocument/2006/relationships/slideLayout" Target="../slideLayouts/slideLayout460.xml"/><Relationship Id="rId10" Type="http://schemas.openxmlformats.org/officeDocument/2006/relationships/slideLayout" Target="../slideLayouts/slideLayout465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5.xml"/><Relationship Id="rId3" Type="http://schemas.openxmlformats.org/officeDocument/2006/relationships/slideLayout" Target="../slideLayouts/slideLayout470.xml"/><Relationship Id="rId7" Type="http://schemas.openxmlformats.org/officeDocument/2006/relationships/slideLayout" Target="../slideLayouts/slideLayout47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69.xml"/><Relationship Id="rId1" Type="http://schemas.openxmlformats.org/officeDocument/2006/relationships/slideLayout" Target="../slideLayouts/slideLayout468.xml"/><Relationship Id="rId6" Type="http://schemas.openxmlformats.org/officeDocument/2006/relationships/slideLayout" Target="../slideLayouts/slideLayout473.xml"/><Relationship Id="rId11" Type="http://schemas.openxmlformats.org/officeDocument/2006/relationships/slideLayout" Target="../slideLayouts/slideLayout478.xml"/><Relationship Id="rId5" Type="http://schemas.openxmlformats.org/officeDocument/2006/relationships/slideLayout" Target="../slideLayouts/slideLayout472.xml"/><Relationship Id="rId10" Type="http://schemas.openxmlformats.org/officeDocument/2006/relationships/slideLayout" Target="../slideLayouts/slideLayout477.xml"/><Relationship Id="rId4" Type="http://schemas.openxmlformats.org/officeDocument/2006/relationships/slideLayout" Target="../slideLayouts/slideLayout471.xml"/><Relationship Id="rId9" Type="http://schemas.openxmlformats.org/officeDocument/2006/relationships/slideLayout" Target="../slideLayouts/slideLayout476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95.xml"/><Relationship Id="rId299" Type="http://schemas.openxmlformats.org/officeDocument/2006/relationships/slideLayout" Target="../slideLayouts/slideLayout777.xml"/><Relationship Id="rId21" Type="http://schemas.openxmlformats.org/officeDocument/2006/relationships/slideLayout" Target="../slideLayouts/slideLayout499.xml"/><Relationship Id="rId63" Type="http://schemas.openxmlformats.org/officeDocument/2006/relationships/slideLayout" Target="../slideLayouts/slideLayout541.xml"/><Relationship Id="rId159" Type="http://schemas.openxmlformats.org/officeDocument/2006/relationships/slideLayout" Target="../slideLayouts/slideLayout637.xml"/><Relationship Id="rId324" Type="http://schemas.openxmlformats.org/officeDocument/2006/relationships/slideLayout" Target="../slideLayouts/slideLayout802.xml"/><Relationship Id="rId366" Type="http://schemas.openxmlformats.org/officeDocument/2006/relationships/slideLayout" Target="../slideLayouts/slideLayout844.xml"/><Relationship Id="rId170" Type="http://schemas.openxmlformats.org/officeDocument/2006/relationships/slideLayout" Target="../slideLayouts/slideLayout648.xml"/><Relationship Id="rId226" Type="http://schemas.openxmlformats.org/officeDocument/2006/relationships/slideLayout" Target="../slideLayouts/slideLayout704.xml"/><Relationship Id="rId433" Type="http://schemas.openxmlformats.org/officeDocument/2006/relationships/slideLayout" Target="../slideLayouts/slideLayout911.xml"/><Relationship Id="rId268" Type="http://schemas.openxmlformats.org/officeDocument/2006/relationships/slideLayout" Target="../slideLayouts/slideLayout746.xml"/><Relationship Id="rId32" Type="http://schemas.openxmlformats.org/officeDocument/2006/relationships/slideLayout" Target="../slideLayouts/slideLayout510.xml"/><Relationship Id="rId74" Type="http://schemas.openxmlformats.org/officeDocument/2006/relationships/slideLayout" Target="../slideLayouts/slideLayout552.xml"/><Relationship Id="rId128" Type="http://schemas.openxmlformats.org/officeDocument/2006/relationships/slideLayout" Target="../slideLayouts/slideLayout606.xml"/><Relationship Id="rId335" Type="http://schemas.openxmlformats.org/officeDocument/2006/relationships/slideLayout" Target="../slideLayouts/slideLayout813.xml"/><Relationship Id="rId377" Type="http://schemas.openxmlformats.org/officeDocument/2006/relationships/slideLayout" Target="../slideLayouts/slideLayout855.xml"/><Relationship Id="rId5" Type="http://schemas.openxmlformats.org/officeDocument/2006/relationships/slideLayout" Target="../slideLayouts/slideLayout483.xml"/><Relationship Id="rId181" Type="http://schemas.openxmlformats.org/officeDocument/2006/relationships/slideLayout" Target="../slideLayouts/slideLayout659.xml"/><Relationship Id="rId237" Type="http://schemas.openxmlformats.org/officeDocument/2006/relationships/slideLayout" Target="../slideLayouts/slideLayout715.xml"/><Relationship Id="rId402" Type="http://schemas.openxmlformats.org/officeDocument/2006/relationships/slideLayout" Target="../slideLayouts/slideLayout880.xml"/><Relationship Id="rId279" Type="http://schemas.openxmlformats.org/officeDocument/2006/relationships/slideLayout" Target="../slideLayouts/slideLayout757.xml"/><Relationship Id="rId444" Type="http://schemas.openxmlformats.org/officeDocument/2006/relationships/slideLayout" Target="../slideLayouts/slideLayout922.xml"/><Relationship Id="rId43" Type="http://schemas.openxmlformats.org/officeDocument/2006/relationships/slideLayout" Target="../slideLayouts/slideLayout521.xml"/><Relationship Id="rId139" Type="http://schemas.openxmlformats.org/officeDocument/2006/relationships/slideLayout" Target="../slideLayouts/slideLayout617.xml"/><Relationship Id="rId290" Type="http://schemas.openxmlformats.org/officeDocument/2006/relationships/slideLayout" Target="../slideLayouts/slideLayout768.xml"/><Relationship Id="rId304" Type="http://schemas.openxmlformats.org/officeDocument/2006/relationships/slideLayout" Target="../slideLayouts/slideLayout782.xml"/><Relationship Id="rId346" Type="http://schemas.openxmlformats.org/officeDocument/2006/relationships/slideLayout" Target="../slideLayouts/slideLayout824.xml"/><Relationship Id="rId388" Type="http://schemas.openxmlformats.org/officeDocument/2006/relationships/slideLayout" Target="../slideLayouts/slideLayout866.xml"/><Relationship Id="rId85" Type="http://schemas.openxmlformats.org/officeDocument/2006/relationships/slideLayout" Target="../slideLayouts/slideLayout563.xml"/><Relationship Id="rId150" Type="http://schemas.openxmlformats.org/officeDocument/2006/relationships/slideLayout" Target="../slideLayouts/slideLayout628.xml"/><Relationship Id="rId192" Type="http://schemas.openxmlformats.org/officeDocument/2006/relationships/slideLayout" Target="../slideLayouts/slideLayout670.xml"/><Relationship Id="rId206" Type="http://schemas.openxmlformats.org/officeDocument/2006/relationships/slideLayout" Target="../slideLayouts/slideLayout684.xml"/><Relationship Id="rId413" Type="http://schemas.openxmlformats.org/officeDocument/2006/relationships/slideLayout" Target="../slideLayouts/slideLayout891.xml"/><Relationship Id="rId248" Type="http://schemas.openxmlformats.org/officeDocument/2006/relationships/slideLayout" Target="../slideLayouts/slideLayout726.xml"/><Relationship Id="rId455" Type="http://schemas.openxmlformats.org/officeDocument/2006/relationships/slideLayout" Target="../slideLayouts/slideLayout933.xml"/><Relationship Id="rId12" Type="http://schemas.openxmlformats.org/officeDocument/2006/relationships/slideLayout" Target="../slideLayouts/slideLayout490.xml"/><Relationship Id="rId108" Type="http://schemas.openxmlformats.org/officeDocument/2006/relationships/slideLayout" Target="../slideLayouts/slideLayout586.xml"/><Relationship Id="rId315" Type="http://schemas.openxmlformats.org/officeDocument/2006/relationships/slideLayout" Target="../slideLayouts/slideLayout793.xml"/><Relationship Id="rId357" Type="http://schemas.openxmlformats.org/officeDocument/2006/relationships/slideLayout" Target="../slideLayouts/slideLayout835.xml"/><Relationship Id="rId54" Type="http://schemas.openxmlformats.org/officeDocument/2006/relationships/slideLayout" Target="../slideLayouts/slideLayout532.xml"/><Relationship Id="rId96" Type="http://schemas.openxmlformats.org/officeDocument/2006/relationships/slideLayout" Target="../slideLayouts/slideLayout574.xml"/><Relationship Id="rId161" Type="http://schemas.openxmlformats.org/officeDocument/2006/relationships/slideLayout" Target="../slideLayouts/slideLayout639.xml"/><Relationship Id="rId217" Type="http://schemas.openxmlformats.org/officeDocument/2006/relationships/slideLayout" Target="../slideLayouts/slideLayout695.xml"/><Relationship Id="rId399" Type="http://schemas.openxmlformats.org/officeDocument/2006/relationships/slideLayout" Target="../slideLayouts/slideLayout877.xml"/><Relationship Id="rId259" Type="http://schemas.openxmlformats.org/officeDocument/2006/relationships/slideLayout" Target="../slideLayouts/slideLayout737.xml"/><Relationship Id="rId424" Type="http://schemas.openxmlformats.org/officeDocument/2006/relationships/slideLayout" Target="../slideLayouts/slideLayout902.xml"/><Relationship Id="rId23" Type="http://schemas.openxmlformats.org/officeDocument/2006/relationships/slideLayout" Target="../slideLayouts/slideLayout501.xml"/><Relationship Id="rId119" Type="http://schemas.openxmlformats.org/officeDocument/2006/relationships/slideLayout" Target="../slideLayouts/slideLayout597.xml"/><Relationship Id="rId270" Type="http://schemas.openxmlformats.org/officeDocument/2006/relationships/slideLayout" Target="../slideLayouts/slideLayout748.xml"/><Relationship Id="rId326" Type="http://schemas.openxmlformats.org/officeDocument/2006/relationships/slideLayout" Target="../slideLayouts/slideLayout804.xml"/><Relationship Id="rId65" Type="http://schemas.openxmlformats.org/officeDocument/2006/relationships/slideLayout" Target="../slideLayouts/slideLayout543.xml"/><Relationship Id="rId130" Type="http://schemas.openxmlformats.org/officeDocument/2006/relationships/slideLayout" Target="../slideLayouts/slideLayout608.xml"/><Relationship Id="rId368" Type="http://schemas.openxmlformats.org/officeDocument/2006/relationships/slideLayout" Target="../slideLayouts/slideLayout846.xml"/><Relationship Id="rId172" Type="http://schemas.openxmlformats.org/officeDocument/2006/relationships/slideLayout" Target="../slideLayouts/slideLayout650.xml"/><Relationship Id="rId228" Type="http://schemas.openxmlformats.org/officeDocument/2006/relationships/slideLayout" Target="../slideLayouts/slideLayout706.xml"/><Relationship Id="rId435" Type="http://schemas.openxmlformats.org/officeDocument/2006/relationships/slideLayout" Target="../slideLayouts/slideLayout913.xml"/><Relationship Id="rId281" Type="http://schemas.openxmlformats.org/officeDocument/2006/relationships/slideLayout" Target="../slideLayouts/slideLayout759.xml"/><Relationship Id="rId337" Type="http://schemas.openxmlformats.org/officeDocument/2006/relationships/slideLayout" Target="../slideLayouts/slideLayout815.xml"/><Relationship Id="rId34" Type="http://schemas.openxmlformats.org/officeDocument/2006/relationships/slideLayout" Target="../slideLayouts/slideLayout512.xml"/><Relationship Id="rId76" Type="http://schemas.openxmlformats.org/officeDocument/2006/relationships/slideLayout" Target="../slideLayouts/slideLayout554.xml"/><Relationship Id="rId141" Type="http://schemas.openxmlformats.org/officeDocument/2006/relationships/slideLayout" Target="../slideLayouts/slideLayout619.xml"/><Relationship Id="rId379" Type="http://schemas.openxmlformats.org/officeDocument/2006/relationships/slideLayout" Target="../slideLayouts/slideLayout857.xml"/><Relationship Id="rId7" Type="http://schemas.openxmlformats.org/officeDocument/2006/relationships/slideLayout" Target="../slideLayouts/slideLayout485.xml"/><Relationship Id="rId183" Type="http://schemas.openxmlformats.org/officeDocument/2006/relationships/slideLayout" Target="../slideLayouts/slideLayout661.xml"/><Relationship Id="rId239" Type="http://schemas.openxmlformats.org/officeDocument/2006/relationships/slideLayout" Target="../slideLayouts/slideLayout717.xml"/><Relationship Id="rId390" Type="http://schemas.openxmlformats.org/officeDocument/2006/relationships/slideLayout" Target="../slideLayouts/slideLayout868.xml"/><Relationship Id="rId404" Type="http://schemas.openxmlformats.org/officeDocument/2006/relationships/slideLayout" Target="../slideLayouts/slideLayout882.xml"/><Relationship Id="rId446" Type="http://schemas.openxmlformats.org/officeDocument/2006/relationships/slideLayout" Target="../slideLayouts/slideLayout924.xml"/><Relationship Id="rId250" Type="http://schemas.openxmlformats.org/officeDocument/2006/relationships/slideLayout" Target="../slideLayouts/slideLayout728.xml"/><Relationship Id="rId292" Type="http://schemas.openxmlformats.org/officeDocument/2006/relationships/slideLayout" Target="../slideLayouts/slideLayout770.xml"/><Relationship Id="rId306" Type="http://schemas.openxmlformats.org/officeDocument/2006/relationships/slideLayout" Target="../slideLayouts/slideLayout784.xml"/><Relationship Id="rId45" Type="http://schemas.openxmlformats.org/officeDocument/2006/relationships/slideLayout" Target="../slideLayouts/slideLayout523.xml"/><Relationship Id="rId87" Type="http://schemas.openxmlformats.org/officeDocument/2006/relationships/slideLayout" Target="../slideLayouts/slideLayout565.xml"/><Relationship Id="rId110" Type="http://schemas.openxmlformats.org/officeDocument/2006/relationships/slideLayout" Target="../slideLayouts/slideLayout588.xml"/><Relationship Id="rId348" Type="http://schemas.openxmlformats.org/officeDocument/2006/relationships/slideLayout" Target="../slideLayouts/slideLayout826.xml"/><Relationship Id="rId152" Type="http://schemas.openxmlformats.org/officeDocument/2006/relationships/slideLayout" Target="../slideLayouts/slideLayout630.xml"/><Relationship Id="rId194" Type="http://schemas.openxmlformats.org/officeDocument/2006/relationships/slideLayout" Target="../slideLayouts/slideLayout672.xml"/><Relationship Id="rId208" Type="http://schemas.openxmlformats.org/officeDocument/2006/relationships/slideLayout" Target="../slideLayouts/slideLayout686.xml"/><Relationship Id="rId415" Type="http://schemas.openxmlformats.org/officeDocument/2006/relationships/slideLayout" Target="../slideLayouts/slideLayout893.xml"/><Relationship Id="rId457" Type="http://schemas.openxmlformats.org/officeDocument/2006/relationships/theme" Target="../theme/theme4.xml"/><Relationship Id="rId261" Type="http://schemas.openxmlformats.org/officeDocument/2006/relationships/slideLayout" Target="../slideLayouts/slideLayout739.xml"/><Relationship Id="rId14" Type="http://schemas.openxmlformats.org/officeDocument/2006/relationships/slideLayout" Target="../slideLayouts/slideLayout492.xml"/><Relationship Id="rId56" Type="http://schemas.openxmlformats.org/officeDocument/2006/relationships/slideLayout" Target="../slideLayouts/slideLayout534.xml"/><Relationship Id="rId317" Type="http://schemas.openxmlformats.org/officeDocument/2006/relationships/slideLayout" Target="../slideLayouts/slideLayout795.xml"/><Relationship Id="rId359" Type="http://schemas.openxmlformats.org/officeDocument/2006/relationships/slideLayout" Target="../slideLayouts/slideLayout837.xml"/><Relationship Id="rId98" Type="http://schemas.openxmlformats.org/officeDocument/2006/relationships/slideLayout" Target="../slideLayouts/slideLayout576.xml"/><Relationship Id="rId121" Type="http://schemas.openxmlformats.org/officeDocument/2006/relationships/slideLayout" Target="../slideLayouts/slideLayout599.xml"/><Relationship Id="rId163" Type="http://schemas.openxmlformats.org/officeDocument/2006/relationships/slideLayout" Target="../slideLayouts/slideLayout641.xml"/><Relationship Id="rId219" Type="http://schemas.openxmlformats.org/officeDocument/2006/relationships/slideLayout" Target="../slideLayouts/slideLayout697.xml"/><Relationship Id="rId370" Type="http://schemas.openxmlformats.org/officeDocument/2006/relationships/slideLayout" Target="../slideLayouts/slideLayout848.xml"/><Relationship Id="rId426" Type="http://schemas.openxmlformats.org/officeDocument/2006/relationships/slideLayout" Target="../slideLayouts/slideLayout904.xml"/><Relationship Id="rId230" Type="http://schemas.openxmlformats.org/officeDocument/2006/relationships/slideLayout" Target="../slideLayouts/slideLayout708.xml"/><Relationship Id="rId25" Type="http://schemas.openxmlformats.org/officeDocument/2006/relationships/slideLayout" Target="../slideLayouts/slideLayout503.xml"/><Relationship Id="rId67" Type="http://schemas.openxmlformats.org/officeDocument/2006/relationships/slideLayout" Target="../slideLayouts/slideLayout545.xml"/><Relationship Id="rId272" Type="http://schemas.openxmlformats.org/officeDocument/2006/relationships/slideLayout" Target="../slideLayouts/slideLayout750.xml"/><Relationship Id="rId328" Type="http://schemas.openxmlformats.org/officeDocument/2006/relationships/slideLayout" Target="../slideLayouts/slideLayout806.xml"/><Relationship Id="rId132" Type="http://schemas.openxmlformats.org/officeDocument/2006/relationships/slideLayout" Target="../slideLayouts/slideLayout610.xml"/><Relationship Id="rId174" Type="http://schemas.openxmlformats.org/officeDocument/2006/relationships/slideLayout" Target="../slideLayouts/slideLayout652.xml"/><Relationship Id="rId381" Type="http://schemas.openxmlformats.org/officeDocument/2006/relationships/slideLayout" Target="../slideLayouts/slideLayout859.xml"/><Relationship Id="rId241" Type="http://schemas.openxmlformats.org/officeDocument/2006/relationships/slideLayout" Target="../slideLayouts/slideLayout719.xml"/><Relationship Id="rId437" Type="http://schemas.openxmlformats.org/officeDocument/2006/relationships/slideLayout" Target="../slideLayouts/slideLayout915.xml"/><Relationship Id="rId36" Type="http://schemas.openxmlformats.org/officeDocument/2006/relationships/slideLayout" Target="../slideLayouts/slideLayout514.xml"/><Relationship Id="rId283" Type="http://schemas.openxmlformats.org/officeDocument/2006/relationships/slideLayout" Target="../slideLayouts/slideLayout761.xml"/><Relationship Id="rId339" Type="http://schemas.openxmlformats.org/officeDocument/2006/relationships/slideLayout" Target="../slideLayouts/slideLayout817.xml"/><Relationship Id="rId78" Type="http://schemas.openxmlformats.org/officeDocument/2006/relationships/slideLayout" Target="../slideLayouts/slideLayout556.xml"/><Relationship Id="rId101" Type="http://schemas.openxmlformats.org/officeDocument/2006/relationships/slideLayout" Target="../slideLayouts/slideLayout579.xml"/><Relationship Id="rId143" Type="http://schemas.openxmlformats.org/officeDocument/2006/relationships/slideLayout" Target="../slideLayouts/slideLayout621.xml"/><Relationship Id="rId185" Type="http://schemas.openxmlformats.org/officeDocument/2006/relationships/slideLayout" Target="../slideLayouts/slideLayout663.xml"/><Relationship Id="rId350" Type="http://schemas.openxmlformats.org/officeDocument/2006/relationships/slideLayout" Target="../slideLayouts/slideLayout828.xml"/><Relationship Id="rId406" Type="http://schemas.openxmlformats.org/officeDocument/2006/relationships/slideLayout" Target="../slideLayouts/slideLayout884.xml"/><Relationship Id="rId9" Type="http://schemas.openxmlformats.org/officeDocument/2006/relationships/slideLayout" Target="../slideLayouts/slideLayout487.xml"/><Relationship Id="rId210" Type="http://schemas.openxmlformats.org/officeDocument/2006/relationships/slideLayout" Target="../slideLayouts/slideLayout688.xml"/><Relationship Id="rId392" Type="http://schemas.openxmlformats.org/officeDocument/2006/relationships/slideLayout" Target="../slideLayouts/slideLayout870.xml"/><Relationship Id="rId448" Type="http://schemas.openxmlformats.org/officeDocument/2006/relationships/slideLayout" Target="../slideLayouts/slideLayout926.xml"/><Relationship Id="rId252" Type="http://schemas.openxmlformats.org/officeDocument/2006/relationships/slideLayout" Target="../slideLayouts/slideLayout730.xml"/><Relationship Id="rId294" Type="http://schemas.openxmlformats.org/officeDocument/2006/relationships/slideLayout" Target="../slideLayouts/slideLayout772.xml"/><Relationship Id="rId308" Type="http://schemas.openxmlformats.org/officeDocument/2006/relationships/slideLayout" Target="../slideLayouts/slideLayout786.xml"/><Relationship Id="rId47" Type="http://schemas.openxmlformats.org/officeDocument/2006/relationships/slideLayout" Target="../slideLayouts/slideLayout525.xml"/><Relationship Id="rId89" Type="http://schemas.openxmlformats.org/officeDocument/2006/relationships/slideLayout" Target="../slideLayouts/slideLayout567.xml"/><Relationship Id="rId112" Type="http://schemas.openxmlformats.org/officeDocument/2006/relationships/slideLayout" Target="../slideLayouts/slideLayout590.xml"/><Relationship Id="rId154" Type="http://schemas.openxmlformats.org/officeDocument/2006/relationships/slideLayout" Target="../slideLayouts/slideLayout632.xml"/><Relationship Id="rId361" Type="http://schemas.openxmlformats.org/officeDocument/2006/relationships/slideLayout" Target="../slideLayouts/slideLayout839.xml"/><Relationship Id="rId196" Type="http://schemas.openxmlformats.org/officeDocument/2006/relationships/slideLayout" Target="../slideLayouts/slideLayout674.xml"/><Relationship Id="rId417" Type="http://schemas.openxmlformats.org/officeDocument/2006/relationships/slideLayout" Target="../slideLayouts/slideLayout895.xml"/><Relationship Id="rId16" Type="http://schemas.openxmlformats.org/officeDocument/2006/relationships/slideLayout" Target="../slideLayouts/slideLayout494.xml"/><Relationship Id="rId221" Type="http://schemas.openxmlformats.org/officeDocument/2006/relationships/slideLayout" Target="../slideLayouts/slideLayout699.xml"/><Relationship Id="rId263" Type="http://schemas.openxmlformats.org/officeDocument/2006/relationships/slideLayout" Target="../slideLayouts/slideLayout741.xml"/><Relationship Id="rId319" Type="http://schemas.openxmlformats.org/officeDocument/2006/relationships/slideLayout" Target="../slideLayouts/slideLayout797.xml"/><Relationship Id="rId58" Type="http://schemas.openxmlformats.org/officeDocument/2006/relationships/slideLayout" Target="../slideLayouts/slideLayout536.xml"/><Relationship Id="rId123" Type="http://schemas.openxmlformats.org/officeDocument/2006/relationships/slideLayout" Target="../slideLayouts/slideLayout601.xml"/><Relationship Id="rId330" Type="http://schemas.openxmlformats.org/officeDocument/2006/relationships/slideLayout" Target="../slideLayouts/slideLayout808.xml"/><Relationship Id="rId165" Type="http://schemas.openxmlformats.org/officeDocument/2006/relationships/slideLayout" Target="../slideLayouts/slideLayout643.xml"/><Relationship Id="rId372" Type="http://schemas.openxmlformats.org/officeDocument/2006/relationships/slideLayout" Target="../slideLayouts/slideLayout850.xml"/><Relationship Id="rId428" Type="http://schemas.openxmlformats.org/officeDocument/2006/relationships/slideLayout" Target="../slideLayouts/slideLayout906.xml"/><Relationship Id="rId232" Type="http://schemas.openxmlformats.org/officeDocument/2006/relationships/slideLayout" Target="../slideLayouts/slideLayout710.xml"/><Relationship Id="rId274" Type="http://schemas.openxmlformats.org/officeDocument/2006/relationships/slideLayout" Target="../slideLayouts/slideLayout752.xml"/><Relationship Id="rId27" Type="http://schemas.openxmlformats.org/officeDocument/2006/relationships/slideLayout" Target="../slideLayouts/slideLayout505.xml"/><Relationship Id="rId69" Type="http://schemas.openxmlformats.org/officeDocument/2006/relationships/slideLayout" Target="../slideLayouts/slideLayout547.xml"/><Relationship Id="rId134" Type="http://schemas.openxmlformats.org/officeDocument/2006/relationships/slideLayout" Target="../slideLayouts/slideLayout612.xml"/><Relationship Id="rId80" Type="http://schemas.openxmlformats.org/officeDocument/2006/relationships/slideLayout" Target="../slideLayouts/slideLayout558.xml"/><Relationship Id="rId176" Type="http://schemas.openxmlformats.org/officeDocument/2006/relationships/slideLayout" Target="../slideLayouts/slideLayout654.xml"/><Relationship Id="rId341" Type="http://schemas.openxmlformats.org/officeDocument/2006/relationships/slideLayout" Target="../slideLayouts/slideLayout819.xml"/><Relationship Id="rId383" Type="http://schemas.openxmlformats.org/officeDocument/2006/relationships/slideLayout" Target="../slideLayouts/slideLayout861.xml"/><Relationship Id="rId439" Type="http://schemas.openxmlformats.org/officeDocument/2006/relationships/slideLayout" Target="../slideLayouts/slideLayout917.xml"/><Relationship Id="rId201" Type="http://schemas.openxmlformats.org/officeDocument/2006/relationships/slideLayout" Target="../slideLayouts/slideLayout679.xml"/><Relationship Id="rId243" Type="http://schemas.openxmlformats.org/officeDocument/2006/relationships/slideLayout" Target="../slideLayouts/slideLayout721.xml"/><Relationship Id="rId285" Type="http://schemas.openxmlformats.org/officeDocument/2006/relationships/slideLayout" Target="../slideLayouts/slideLayout763.xml"/><Relationship Id="rId450" Type="http://schemas.openxmlformats.org/officeDocument/2006/relationships/slideLayout" Target="../slideLayouts/slideLayout928.xml"/><Relationship Id="rId38" Type="http://schemas.openxmlformats.org/officeDocument/2006/relationships/slideLayout" Target="../slideLayouts/slideLayout516.xml"/><Relationship Id="rId103" Type="http://schemas.openxmlformats.org/officeDocument/2006/relationships/slideLayout" Target="../slideLayouts/slideLayout581.xml"/><Relationship Id="rId310" Type="http://schemas.openxmlformats.org/officeDocument/2006/relationships/slideLayout" Target="../slideLayouts/slideLayout788.xml"/><Relationship Id="rId91" Type="http://schemas.openxmlformats.org/officeDocument/2006/relationships/slideLayout" Target="../slideLayouts/slideLayout569.xml"/><Relationship Id="rId145" Type="http://schemas.openxmlformats.org/officeDocument/2006/relationships/slideLayout" Target="../slideLayouts/slideLayout623.xml"/><Relationship Id="rId187" Type="http://schemas.openxmlformats.org/officeDocument/2006/relationships/slideLayout" Target="../slideLayouts/slideLayout665.xml"/><Relationship Id="rId352" Type="http://schemas.openxmlformats.org/officeDocument/2006/relationships/slideLayout" Target="../slideLayouts/slideLayout830.xml"/><Relationship Id="rId394" Type="http://schemas.openxmlformats.org/officeDocument/2006/relationships/slideLayout" Target="../slideLayouts/slideLayout872.xml"/><Relationship Id="rId408" Type="http://schemas.openxmlformats.org/officeDocument/2006/relationships/slideLayout" Target="../slideLayouts/slideLayout886.xml"/><Relationship Id="rId212" Type="http://schemas.openxmlformats.org/officeDocument/2006/relationships/slideLayout" Target="../slideLayouts/slideLayout690.xml"/><Relationship Id="rId254" Type="http://schemas.openxmlformats.org/officeDocument/2006/relationships/slideLayout" Target="../slideLayouts/slideLayout732.xml"/><Relationship Id="rId49" Type="http://schemas.openxmlformats.org/officeDocument/2006/relationships/slideLayout" Target="../slideLayouts/slideLayout527.xml"/><Relationship Id="rId114" Type="http://schemas.openxmlformats.org/officeDocument/2006/relationships/slideLayout" Target="../slideLayouts/slideLayout592.xml"/><Relationship Id="rId296" Type="http://schemas.openxmlformats.org/officeDocument/2006/relationships/slideLayout" Target="../slideLayouts/slideLayout774.xml"/><Relationship Id="rId60" Type="http://schemas.openxmlformats.org/officeDocument/2006/relationships/slideLayout" Target="../slideLayouts/slideLayout538.xml"/><Relationship Id="rId156" Type="http://schemas.openxmlformats.org/officeDocument/2006/relationships/slideLayout" Target="../slideLayouts/slideLayout634.xml"/><Relationship Id="rId198" Type="http://schemas.openxmlformats.org/officeDocument/2006/relationships/slideLayout" Target="../slideLayouts/slideLayout676.xml"/><Relationship Id="rId321" Type="http://schemas.openxmlformats.org/officeDocument/2006/relationships/slideLayout" Target="../slideLayouts/slideLayout799.xml"/><Relationship Id="rId363" Type="http://schemas.openxmlformats.org/officeDocument/2006/relationships/slideLayout" Target="../slideLayouts/slideLayout841.xml"/><Relationship Id="rId419" Type="http://schemas.openxmlformats.org/officeDocument/2006/relationships/slideLayout" Target="../slideLayouts/slideLayout897.xml"/><Relationship Id="rId223" Type="http://schemas.openxmlformats.org/officeDocument/2006/relationships/slideLayout" Target="../slideLayouts/slideLayout701.xml"/><Relationship Id="rId430" Type="http://schemas.openxmlformats.org/officeDocument/2006/relationships/slideLayout" Target="../slideLayouts/slideLayout908.xml"/><Relationship Id="rId18" Type="http://schemas.openxmlformats.org/officeDocument/2006/relationships/slideLayout" Target="../slideLayouts/slideLayout496.xml"/><Relationship Id="rId265" Type="http://schemas.openxmlformats.org/officeDocument/2006/relationships/slideLayout" Target="../slideLayouts/slideLayout743.xml"/><Relationship Id="rId125" Type="http://schemas.openxmlformats.org/officeDocument/2006/relationships/slideLayout" Target="../slideLayouts/slideLayout603.xml"/><Relationship Id="rId167" Type="http://schemas.openxmlformats.org/officeDocument/2006/relationships/slideLayout" Target="../slideLayouts/slideLayout645.xml"/><Relationship Id="rId332" Type="http://schemas.openxmlformats.org/officeDocument/2006/relationships/slideLayout" Target="../slideLayouts/slideLayout810.xml"/><Relationship Id="rId374" Type="http://schemas.openxmlformats.org/officeDocument/2006/relationships/slideLayout" Target="../slideLayouts/slideLayout852.xml"/><Relationship Id="rId71" Type="http://schemas.openxmlformats.org/officeDocument/2006/relationships/slideLayout" Target="../slideLayouts/slideLayout549.xml"/><Relationship Id="rId234" Type="http://schemas.openxmlformats.org/officeDocument/2006/relationships/slideLayout" Target="../slideLayouts/slideLayout712.xml"/><Relationship Id="rId2" Type="http://schemas.openxmlformats.org/officeDocument/2006/relationships/slideLayout" Target="../slideLayouts/slideLayout480.xml"/><Relationship Id="rId29" Type="http://schemas.openxmlformats.org/officeDocument/2006/relationships/slideLayout" Target="../slideLayouts/slideLayout507.xml"/><Relationship Id="rId255" Type="http://schemas.openxmlformats.org/officeDocument/2006/relationships/slideLayout" Target="../slideLayouts/slideLayout733.xml"/><Relationship Id="rId276" Type="http://schemas.openxmlformats.org/officeDocument/2006/relationships/slideLayout" Target="../slideLayouts/slideLayout754.xml"/><Relationship Id="rId297" Type="http://schemas.openxmlformats.org/officeDocument/2006/relationships/slideLayout" Target="../slideLayouts/slideLayout775.xml"/><Relationship Id="rId441" Type="http://schemas.openxmlformats.org/officeDocument/2006/relationships/slideLayout" Target="../slideLayouts/slideLayout919.xml"/><Relationship Id="rId40" Type="http://schemas.openxmlformats.org/officeDocument/2006/relationships/slideLayout" Target="../slideLayouts/slideLayout518.xml"/><Relationship Id="rId115" Type="http://schemas.openxmlformats.org/officeDocument/2006/relationships/slideLayout" Target="../slideLayouts/slideLayout593.xml"/><Relationship Id="rId136" Type="http://schemas.openxmlformats.org/officeDocument/2006/relationships/slideLayout" Target="../slideLayouts/slideLayout614.xml"/><Relationship Id="rId157" Type="http://schemas.openxmlformats.org/officeDocument/2006/relationships/slideLayout" Target="../slideLayouts/slideLayout635.xml"/><Relationship Id="rId178" Type="http://schemas.openxmlformats.org/officeDocument/2006/relationships/slideLayout" Target="../slideLayouts/slideLayout656.xml"/><Relationship Id="rId301" Type="http://schemas.openxmlformats.org/officeDocument/2006/relationships/slideLayout" Target="../slideLayouts/slideLayout779.xml"/><Relationship Id="rId322" Type="http://schemas.openxmlformats.org/officeDocument/2006/relationships/slideLayout" Target="../slideLayouts/slideLayout800.xml"/><Relationship Id="rId343" Type="http://schemas.openxmlformats.org/officeDocument/2006/relationships/slideLayout" Target="../slideLayouts/slideLayout821.xml"/><Relationship Id="rId364" Type="http://schemas.openxmlformats.org/officeDocument/2006/relationships/slideLayout" Target="../slideLayouts/slideLayout842.xml"/><Relationship Id="rId61" Type="http://schemas.openxmlformats.org/officeDocument/2006/relationships/slideLayout" Target="../slideLayouts/slideLayout539.xml"/><Relationship Id="rId82" Type="http://schemas.openxmlformats.org/officeDocument/2006/relationships/slideLayout" Target="../slideLayouts/slideLayout560.xml"/><Relationship Id="rId199" Type="http://schemas.openxmlformats.org/officeDocument/2006/relationships/slideLayout" Target="../slideLayouts/slideLayout677.xml"/><Relationship Id="rId203" Type="http://schemas.openxmlformats.org/officeDocument/2006/relationships/slideLayout" Target="../slideLayouts/slideLayout681.xml"/><Relationship Id="rId385" Type="http://schemas.openxmlformats.org/officeDocument/2006/relationships/slideLayout" Target="../slideLayouts/slideLayout863.xml"/><Relationship Id="rId19" Type="http://schemas.openxmlformats.org/officeDocument/2006/relationships/slideLayout" Target="../slideLayouts/slideLayout497.xml"/><Relationship Id="rId224" Type="http://schemas.openxmlformats.org/officeDocument/2006/relationships/slideLayout" Target="../slideLayouts/slideLayout702.xml"/><Relationship Id="rId245" Type="http://schemas.openxmlformats.org/officeDocument/2006/relationships/slideLayout" Target="../slideLayouts/slideLayout723.xml"/><Relationship Id="rId266" Type="http://schemas.openxmlformats.org/officeDocument/2006/relationships/slideLayout" Target="../slideLayouts/slideLayout744.xml"/><Relationship Id="rId287" Type="http://schemas.openxmlformats.org/officeDocument/2006/relationships/slideLayout" Target="../slideLayouts/slideLayout765.xml"/><Relationship Id="rId410" Type="http://schemas.openxmlformats.org/officeDocument/2006/relationships/slideLayout" Target="../slideLayouts/slideLayout888.xml"/><Relationship Id="rId431" Type="http://schemas.openxmlformats.org/officeDocument/2006/relationships/slideLayout" Target="../slideLayouts/slideLayout909.xml"/><Relationship Id="rId452" Type="http://schemas.openxmlformats.org/officeDocument/2006/relationships/slideLayout" Target="../slideLayouts/slideLayout930.xml"/><Relationship Id="rId30" Type="http://schemas.openxmlformats.org/officeDocument/2006/relationships/slideLayout" Target="../slideLayouts/slideLayout508.xml"/><Relationship Id="rId105" Type="http://schemas.openxmlformats.org/officeDocument/2006/relationships/slideLayout" Target="../slideLayouts/slideLayout583.xml"/><Relationship Id="rId126" Type="http://schemas.openxmlformats.org/officeDocument/2006/relationships/slideLayout" Target="../slideLayouts/slideLayout604.xml"/><Relationship Id="rId147" Type="http://schemas.openxmlformats.org/officeDocument/2006/relationships/slideLayout" Target="../slideLayouts/slideLayout625.xml"/><Relationship Id="rId168" Type="http://schemas.openxmlformats.org/officeDocument/2006/relationships/slideLayout" Target="../slideLayouts/slideLayout646.xml"/><Relationship Id="rId312" Type="http://schemas.openxmlformats.org/officeDocument/2006/relationships/slideLayout" Target="../slideLayouts/slideLayout790.xml"/><Relationship Id="rId333" Type="http://schemas.openxmlformats.org/officeDocument/2006/relationships/slideLayout" Target="../slideLayouts/slideLayout811.xml"/><Relationship Id="rId354" Type="http://schemas.openxmlformats.org/officeDocument/2006/relationships/slideLayout" Target="../slideLayouts/slideLayout832.xml"/><Relationship Id="rId51" Type="http://schemas.openxmlformats.org/officeDocument/2006/relationships/slideLayout" Target="../slideLayouts/slideLayout529.xml"/><Relationship Id="rId72" Type="http://schemas.openxmlformats.org/officeDocument/2006/relationships/slideLayout" Target="../slideLayouts/slideLayout550.xml"/><Relationship Id="rId93" Type="http://schemas.openxmlformats.org/officeDocument/2006/relationships/slideLayout" Target="../slideLayouts/slideLayout571.xml"/><Relationship Id="rId189" Type="http://schemas.openxmlformats.org/officeDocument/2006/relationships/slideLayout" Target="../slideLayouts/slideLayout667.xml"/><Relationship Id="rId375" Type="http://schemas.openxmlformats.org/officeDocument/2006/relationships/slideLayout" Target="../slideLayouts/slideLayout853.xml"/><Relationship Id="rId396" Type="http://schemas.openxmlformats.org/officeDocument/2006/relationships/slideLayout" Target="../slideLayouts/slideLayout874.xml"/><Relationship Id="rId3" Type="http://schemas.openxmlformats.org/officeDocument/2006/relationships/slideLayout" Target="../slideLayouts/slideLayout481.xml"/><Relationship Id="rId214" Type="http://schemas.openxmlformats.org/officeDocument/2006/relationships/slideLayout" Target="../slideLayouts/slideLayout692.xml"/><Relationship Id="rId235" Type="http://schemas.openxmlformats.org/officeDocument/2006/relationships/slideLayout" Target="../slideLayouts/slideLayout713.xml"/><Relationship Id="rId256" Type="http://schemas.openxmlformats.org/officeDocument/2006/relationships/slideLayout" Target="../slideLayouts/slideLayout734.xml"/><Relationship Id="rId277" Type="http://schemas.openxmlformats.org/officeDocument/2006/relationships/slideLayout" Target="../slideLayouts/slideLayout755.xml"/><Relationship Id="rId298" Type="http://schemas.openxmlformats.org/officeDocument/2006/relationships/slideLayout" Target="../slideLayouts/slideLayout776.xml"/><Relationship Id="rId400" Type="http://schemas.openxmlformats.org/officeDocument/2006/relationships/slideLayout" Target="../slideLayouts/slideLayout878.xml"/><Relationship Id="rId421" Type="http://schemas.openxmlformats.org/officeDocument/2006/relationships/slideLayout" Target="../slideLayouts/slideLayout899.xml"/><Relationship Id="rId442" Type="http://schemas.openxmlformats.org/officeDocument/2006/relationships/slideLayout" Target="../slideLayouts/slideLayout920.xml"/><Relationship Id="rId116" Type="http://schemas.openxmlformats.org/officeDocument/2006/relationships/slideLayout" Target="../slideLayouts/slideLayout594.xml"/><Relationship Id="rId137" Type="http://schemas.openxmlformats.org/officeDocument/2006/relationships/slideLayout" Target="../slideLayouts/slideLayout615.xml"/><Relationship Id="rId158" Type="http://schemas.openxmlformats.org/officeDocument/2006/relationships/slideLayout" Target="../slideLayouts/slideLayout636.xml"/><Relationship Id="rId302" Type="http://schemas.openxmlformats.org/officeDocument/2006/relationships/slideLayout" Target="../slideLayouts/slideLayout780.xml"/><Relationship Id="rId323" Type="http://schemas.openxmlformats.org/officeDocument/2006/relationships/slideLayout" Target="../slideLayouts/slideLayout801.xml"/><Relationship Id="rId344" Type="http://schemas.openxmlformats.org/officeDocument/2006/relationships/slideLayout" Target="../slideLayouts/slideLayout822.xml"/><Relationship Id="rId20" Type="http://schemas.openxmlformats.org/officeDocument/2006/relationships/slideLayout" Target="../slideLayouts/slideLayout498.xml"/><Relationship Id="rId41" Type="http://schemas.openxmlformats.org/officeDocument/2006/relationships/slideLayout" Target="../slideLayouts/slideLayout519.xml"/><Relationship Id="rId62" Type="http://schemas.openxmlformats.org/officeDocument/2006/relationships/slideLayout" Target="../slideLayouts/slideLayout540.xml"/><Relationship Id="rId83" Type="http://schemas.openxmlformats.org/officeDocument/2006/relationships/slideLayout" Target="../slideLayouts/slideLayout561.xml"/><Relationship Id="rId179" Type="http://schemas.openxmlformats.org/officeDocument/2006/relationships/slideLayout" Target="../slideLayouts/slideLayout657.xml"/><Relationship Id="rId365" Type="http://schemas.openxmlformats.org/officeDocument/2006/relationships/slideLayout" Target="../slideLayouts/slideLayout843.xml"/><Relationship Id="rId386" Type="http://schemas.openxmlformats.org/officeDocument/2006/relationships/slideLayout" Target="../slideLayouts/slideLayout864.xml"/><Relationship Id="rId190" Type="http://schemas.openxmlformats.org/officeDocument/2006/relationships/slideLayout" Target="../slideLayouts/slideLayout668.xml"/><Relationship Id="rId204" Type="http://schemas.openxmlformats.org/officeDocument/2006/relationships/slideLayout" Target="../slideLayouts/slideLayout682.xml"/><Relationship Id="rId225" Type="http://schemas.openxmlformats.org/officeDocument/2006/relationships/slideLayout" Target="../slideLayouts/slideLayout703.xml"/><Relationship Id="rId246" Type="http://schemas.openxmlformats.org/officeDocument/2006/relationships/slideLayout" Target="../slideLayouts/slideLayout724.xml"/><Relationship Id="rId267" Type="http://schemas.openxmlformats.org/officeDocument/2006/relationships/slideLayout" Target="../slideLayouts/slideLayout745.xml"/><Relationship Id="rId288" Type="http://schemas.openxmlformats.org/officeDocument/2006/relationships/slideLayout" Target="../slideLayouts/slideLayout766.xml"/><Relationship Id="rId411" Type="http://schemas.openxmlformats.org/officeDocument/2006/relationships/slideLayout" Target="../slideLayouts/slideLayout889.xml"/><Relationship Id="rId432" Type="http://schemas.openxmlformats.org/officeDocument/2006/relationships/slideLayout" Target="../slideLayouts/slideLayout910.xml"/><Relationship Id="rId453" Type="http://schemas.openxmlformats.org/officeDocument/2006/relationships/slideLayout" Target="../slideLayouts/slideLayout931.xml"/><Relationship Id="rId106" Type="http://schemas.openxmlformats.org/officeDocument/2006/relationships/slideLayout" Target="../slideLayouts/slideLayout584.xml"/><Relationship Id="rId127" Type="http://schemas.openxmlformats.org/officeDocument/2006/relationships/slideLayout" Target="../slideLayouts/slideLayout605.xml"/><Relationship Id="rId313" Type="http://schemas.openxmlformats.org/officeDocument/2006/relationships/slideLayout" Target="../slideLayouts/slideLayout791.xml"/><Relationship Id="rId10" Type="http://schemas.openxmlformats.org/officeDocument/2006/relationships/slideLayout" Target="../slideLayouts/slideLayout488.xml"/><Relationship Id="rId31" Type="http://schemas.openxmlformats.org/officeDocument/2006/relationships/slideLayout" Target="../slideLayouts/slideLayout509.xml"/><Relationship Id="rId52" Type="http://schemas.openxmlformats.org/officeDocument/2006/relationships/slideLayout" Target="../slideLayouts/slideLayout530.xml"/><Relationship Id="rId73" Type="http://schemas.openxmlformats.org/officeDocument/2006/relationships/slideLayout" Target="../slideLayouts/slideLayout551.xml"/><Relationship Id="rId94" Type="http://schemas.openxmlformats.org/officeDocument/2006/relationships/slideLayout" Target="../slideLayouts/slideLayout572.xml"/><Relationship Id="rId148" Type="http://schemas.openxmlformats.org/officeDocument/2006/relationships/slideLayout" Target="../slideLayouts/slideLayout626.xml"/><Relationship Id="rId169" Type="http://schemas.openxmlformats.org/officeDocument/2006/relationships/slideLayout" Target="../slideLayouts/slideLayout647.xml"/><Relationship Id="rId334" Type="http://schemas.openxmlformats.org/officeDocument/2006/relationships/slideLayout" Target="../slideLayouts/slideLayout812.xml"/><Relationship Id="rId355" Type="http://schemas.openxmlformats.org/officeDocument/2006/relationships/slideLayout" Target="../slideLayouts/slideLayout833.xml"/><Relationship Id="rId376" Type="http://schemas.openxmlformats.org/officeDocument/2006/relationships/slideLayout" Target="../slideLayouts/slideLayout854.xml"/><Relationship Id="rId397" Type="http://schemas.openxmlformats.org/officeDocument/2006/relationships/slideLayout" Target="../slideLayouts/slideLayout875.xml"/><Relationship Id="rId4" Type="http://schemas.openxmlformats.org/officeDocument/2006/relationships/slideLayout" Target="../slideLayouts/slideLayout482.xml"/><Relationship Id="rId180" Type="http://schemas.openxmlformats.org/officeDocument/2006/relationships/slideLayout" Target="../slideLayouts/slideLayout658.xml"/><Relationship Id="rId215" Type="http://schemas.openxmlformats.org/officeDocument/2006/relationships/slideLayout" Target="../slideLayouts/slideLayout693.xml"/><Relationship Id="rId236" Type="http://schemas.openxmlformats.org/officeDocument/2006/relationships/slideLayout" Target="../slideLayouts/slideLayout714.xml"/><Relationship Id="rId257" Type="http://schemas.openxmlformats.org/officeDocument/2006/relationships/slideLayout" Target="../slideLayouts/slideLayout735.xml"/><Relationship Id="rId278" Type="http://schemas.openxmlformats.org/officeDocument/2006/relationships/slideLayout" Target="../slideLayouts/slideLayout756.xml"/><Relationship Id="rId401" Type="http://schemas.openxmlformats.org/officeDocument/2006/relationships/slideLayout" Target="../slideLayouts/slideLayout879.xml"/><Relationship Id="rId422" Type="http://schemas.openxmlformats.org/officeDocument/2006/relationships/slideLayout" Target="../slideLayouts/slideLayout900.xml"/><Relationship Id="rId443" Type="http://schemas.openxmlformats.org/officeDocument/2006/relationships/slideLayout" Target="../slideLayouts/slideLayout921.xml"/><Relationship Id="rId303" Type="http://schemas.openxmlformats.org/officeDocument/2006/relationships/slideLayout" Target="../slideLayouts/slideLayout781.xml"/><Relationship Id="rId42" Type="http://schemas.openxmlformats.org/officeDocument/2006/relationships/slideLayout" Target="../slideLayouts/slideLayout520.xml"/><Relationship Id="rId84" Type="http://schemas.openxmlformats.org/officeDocument/2006/relationships/slideLayout" Target="../slideLayouts/slideLayout562.xml"/><Relationship Id="rId138" Type="http://schemas.openxmlformats.org/officeDocument/2006/relationships/slideLayout" Target="../slideLayouts/slideLayout616.xml"/><Relationship Id="rId345" Type="http://schemas.openxmlformats.org/officeDocument/2006/relationships/slideLayout" Target="../slideLayouts/slideLayout823.xml"/><Relationship Id="rId387" Type="http://schemas.openxmlformats.org/officeDocument/2006/relationships/slideLayout" Target="../slideLayouts/slideLayout865.xml"/><Relationship Id="rId191" Type="http://schemas.openxmlformats.org/officeDocument/2006/relationships/slideLayout" Target="../slideLayouts/slideLayout669.xml"/><Relationship Id="rId205" Type="http://schemas.openxmlformats.org/officeDocument/2006/relationships/slideLayout" Target="../slideLayouts/slideLayout683.xml"/><Relationship Id="rId247" Type="http://schemas.openxmlformats.org/officeDocument/2006/relationships/slideLayout" Target="../slideLayouts/slideLayout725.xml"/><Relationship Id="rId412" Type="http://schemas.openxmlformats.org/officeDocument/2006/relationships/slideLayout" Target="../slideLayouts/slideLayout890.xml"/><Relationship Id="rId107" Type="http://schemas.openxmlformats.org/officeDocument/2006/relationships/slideLayout" Target="../slideLayouts/slideLayout585.xml"/><Relationship Id="rId289" Type="http://schemas.openxmlformats.org/officeDocument/2006/relationships/slideLayout" Target="../slideLayouts/slideLayout767.xml"/><Relationship Id="rId454" Type="http://schemas.openxmlformats.org/officeDocument/2006/relationships/slideLayout" Target="../slideLayouts/slideLayout932.xml"/><Relationship Id="rId11" Type="http://schemas.openxmlformats.org/officeDocument/2006/relationships/slideLayout" Target="../slideLayouts/slideLayout489.xml"/><Relationship Id="rId53" Type="http://schemas.openxmlformats.org/officeDocument/2006/relationships/slideLayout" Target="../slideLayouts/slideLayout531.xml"/><Relationship Id="rId149" Type="http://schemas.openxmlformats.org/officeDocument/2006/relationships/slideLayout" Target="../slideLayouts/slideLayout627.xml"/><Relationship Id="rId314" Type="http://schemas.openxmlformats.org/officeDocument/2006/relationships/slideLayout" Target="../slideLayouts/slideLayout792.xml"/><Relationship Id="rId356" Type="http://schemas.openxmlformats.org/officeDocument/2006/relationships/slideLayout" Target="../slideLayouts/slideLayout834.xml"/><Relationship Id="rId398" Type="http://schemas.openxmlformats.org/officeDocument/2006/relationships/slideLayout" Target="../slideLayouts/slideLayout876.xml"/><Relationship Id="rId95" Type="http://schemas.openxmlformats.org/officeDocument/2006/relationships/slideLayout" Target="../slideLayouts/slideLayout573.xml"/><Relationship Id="rId160" Type="http://schemas.openxmlformats.org/officeDocument/2006/relationships/slideLayout" Target="../slideLayouts/slideLayout638.xml"/><Relationship Id="rId216" Type="http://schemas.openxmlformats.org/officeDocument/2006/relationships/slideLayout" Target="../slideLayouts/slideLayout694.xml"/><Relationship Id="rId423" Type="http://schemas.openxmlformats.org/officeDocument/2006/relationships/slideLayout" Target="../slideLayouts/slideLayout901.xml"/><Relationship Id="rId258" Type="http://schemas.openxmlformats.org/officeDocument/2006/relationships/slideLayout" Target="../slideLayouts/slideLayout736.xml"/><Relationship Id="rId22" Type="http://schemas.openxmlformats.org/officeDocument/2006/relationships/slideLayout" Target="../slideLayouts/slideLayout500.xml"/><Relationship Id="rId64" Type="http://schemas.openxmlformats.org/officeDocument/2006/relationships/slideLayout" Target="../slideLayouts/slideLayout542.xml"/><Relationship Id="rId118" Type="http://schemas.openxmlformats.org/officeDocument/2006/relationships/slideLayout" Target="../slideLayouts/slideLayout596.xml"/><Relationship Id="rId325" Type="http://schemas.openxmlformats.org/officeDocument/2006/relationships/slideLayout" Target="../slideLayouts/slideLayout803.xml"/><Relationship Id="rId367" Type="http://schemas.openxmlformats.org/officeDocument/2006/relationships/slideLayout" Target="../slideLayouts/slideLayout845.xml"/><Relationship Id="rId171" Type="http://schemas.openxmlformats.org/officeDocument/2006/relationships/slideLayout" Target="../slideLayouts/slideLayout649.xml"/><Relationship Id="rId227" Type="http://schemas.openxmlformats.org/officeDocument/2006/relationships/slideLayout" Target="../slideLayouts/slideLayout705.xml"/><Relationship Id="rId269" Type="http://schemas.openxmlformats.org/officeDocument/2006/relationships/slideLayout" Target="../slideLayouts/slideLayout747.xml"/><Relationship Id="rId434" Type="http://schemas.openxmlformats.org/officeDocument/2006/relationships/slideLayout" Target="../slideLayouts/slideLayout912.xml"/><Relationship Id="rId33" Type="http://schemas.openxmlformats.org/officeDocument/2006/relationships/slideLayout" Target="../slideLayouts/slideLayout511.xml"/><Relationship Id="rId129" Type="http://schemas.openxmlformats.org/officeDocument/2006/relationships/slideLayout" Target="../slideLayouts/slideLayout607.xml"/><Relationship Id="rId280" Type="http://schemas.openxmlformats.org/officeDocument/2006/relationships/slideLayout" Target="../slideLayouts/slideLayout758.xml"/><Relationship Id="rId336" Type="http://schemas.openxmlformats.org/officeDocument/2006/relationships/slideLayout" Target="../slideLayouts/slideLayout814.xml"/><Relationship Id="rId75" Type="http://schemas.openxmlformats.org/officeDocument/2006/relationships/slideLayout" Target="../slideLayouts/slideLayout553.xml"/><Relationship Id="rId140" Type="http://schemas.openxmlformats.org/officeDocument/2006/relationships/slideLayout" Target="../slideLayouts/slideLayout618.xml"/><Relationship Id="rId182" Type="http://schemas.openxmlformats.org/officeDocument/2006/relationships/slideLayout" Target="../slideLayouts/slideLayout660.xml"/><Relationship Id="rId378" Type="http://schemas.openxmlformats.org/officeDocument/2006/relationships/slideLayout" Target="../slideLayouts/slideLayout856.xml"/><Relationship Id="rId403" Type="http://schemas.openxmlformats.org/officeDocument/2006/relationships/slideLayout" Target="../slideLayouts/slideLayout881.xml"/><Relationship Id="rId6" Type="http://schemas.openxmlformats.org/officeDocument/2006/relationships/slideLayout" Target="../slideLayouts/slideLayout484.xml"/><Relationship Id="rId238" Type="http://schemas.openxmlformats.org/officeDocument/2006/relationships/slideLayout" Target="../slideLayouts/slideLayout716.xml"/><Relationship Id="rId445" Type="http://schemas.openxmlformats.org/officeDocument/2006/relationships/slideLayout" Target="../slideLayouts/slideLayout923.xml"/><Relationship Id="rId291" Type="http://schemas.openxmlformats.org/officeDocument/2006/relationships/slideLayout" Target="../slideLayouts/slideLayout769.xml"/><Relationship Id="rId305" Type="http://schemas.openxmlformats.org/officeDocument/2006/relationships/slideLayout" Target="../slideLayouts/slideLayout783.xml"/><Relationship Id="rId347" Type="http://schemas.openxmlformats.org/officeDocument/2006/relationships/slideLayout" Target="../slideLayouts/slideLayout825.xml"/><Relationship Id="rId44" Type="http://schemas.openxmlformats.org/officeDocument/2006/relationships/slideLayout" Target="../slideLayouts/slideLayout522.xml"/><Relationship Id="rId86" Type="http://schemas.openxmlformats.org/officeDocument/2006/relationships/slideLayout" Target="../slideLayouts/slideLayout564.xml"/><Relationship Id="rId151" Type="http://schemas.openxmlformats.org/officeDocument/2006/relationships/slideLayout" Target="../slideLayouts/slideLayout629.xml"/><Relationship Id="rId389" Type="http://schemas.openxmlformats.org/officeDocument/2006/relationships/slideLayout" Target="../slideLayouts/slideLayout867.xml"/><Relationship Id="rId193" Type="http://schemas.openxmlformats.org/officeDocument/2006/relationships/slideLayout" Target="../slideLayouts/slideLayout671.xml"/><Relationship Id="rId207" Type="http://schemas.openxmlformats.org/officeDocument/2006/relationships/slideLayout" Target="../slideLayouts/slideLayout685.xml"/><Relationship Id="rId249" Type="http://schemas.openxmlformats.org/officeDocument/2006/relationships/slideLayout" Target="../slideLayouts/slideLayout727.xml"/><Relationship Id="rId414" Type="http://schemas.openxmlformats.org/officeDocument/2006/relationships/slideLayout" Target="../slideLayouts/slideLayout892.xml"/><Relationship Id="rId456" Type="http://schemas.openxmlformats.org/officeDocument/2006/relationships/slideLayout" Target="../slideLayouts/slideLayout934.xml"/><Relationship Id="rId13" Type="http://schemas.openxmlformats.org/officeDocument/2006/relationships/slideLayout" Target="../slideLayouts/slideLayout491.xml"/><Relationship Id="rId109" Type="http://schemas.openxmlformats.org/officeDocument/2006/relationships/slideLayout" Target="../slideLayouts/slideLayout587.xml"/><Relationship Id="rId260" Type="http://schemas.openxmlformats.org/officeDocument/2006/relationships/slideLayout" Target="../slideLayouts/slideLayout738.xml"/><Relationship Id="rId316" Type="http://schemas.openxmlformats.org/officeDocument/2006/relationships/slideLayout" Target="../slideLayouts/slideLayout794.xml"/><Relationship Id="rId55" Type="http://schemas.openxmlformats.org/officeDocument/2006/relationships/slideLayout" Target="../slideLayouts/slideLayout533.xml"/><Relationship Id="rId97" Type="http://schemas.openxmlformats.org/officeDocument/2006/relationships/slideLayout" Target="../slideLayouts/slideLayout575.xml"/><Relationship Id="rId120" Type="http://schemas.openxmlformats.org/officeDocument/2006/relationships/slideLayout" Target="../slideLayouts/slideLayout598.xml"/><Relationship Id="rId358" Type="http://schemas.openxmlformats.org/officeDocument/2006/relationships/slideLayout" Target="../slideLayouts/slideLayout836.xml"/><Relationship Id="rId162" Type="http://schemas.openxmlformats.org/officeDocument/2006/relationships/slideLayout" Target="../slideLayouts/slideLayout640.xml"/><Relationship Id="rId218" Type="http://schemas.openxmlformats.org/officeDocument/2006/relationships/slideLayout" Target="../slideLayouts/slideLayout696.xml"/><Relationship Id="rId425" Type="http://schemas.openxmlformats.org/officeDocument/2006/relationships/slideLayout" Target="../slideLayouts/slideLayout903.xml"/><Relationship Id="rId271" Type="http://schemas.openxmlformats.org/officeDocument/2006/relationships/slideLayout" Target="../slideLayouts/slideLayout749.xml"/><Relationship Id="rId24" Type="http://schemas.openxmlformats.org/officeDocument/2006/relationships/slideLayout" Target="../slideLayouts/slideLayout502.xml"/><Relationship Id="rId66" Type="http://schemas.openxmlformats.org/officeDocument/2006/relationships/slideLayout" Target="../slideLayouts/slideLayout544.xml"/><Relationship Id="rId131" Type="http://schemas.openxmlformats.org/officeDocument/2006/relationships/slideLayout" Target="../slideLayouts/slideLayout609.xml"/><Relationship Id="rId327" Type="http://schemas.openxmlformats.org/officeDocument/2006/relationships/slideLayout" Target="../slideLayouts/slideLayout805.xml"/><Relationship Id="rId369" Type="http://schemas.openxmlformats.org/officeDocument/2006/relationships/slideLayout" Target="../slideLayouts/slideLayout847.xml"/><Relationship Id="rId173" Type="http://schemas.openxmlformats.org/officeDocument/2006/relationships/slideLayout" Target="../slideLayouts/slideLayout651.xml"/><Relationship Id="rId229" Type="http://schemas.openxmlformats.org/officeDocument/2006/relationships/slideLayout" Target="../slideLayouts/slideLayout707.xml"/><Relationship Id="rId380" Type="http://schemas.openxmlformats.org/officeDocument/2006/relationships/slideLayout" Target="../slideLayouts/slideLayout858.xml"/><Relationship Id="rId436" Type="http://schemas.openxmlformats.org/officeDocument/2006/relationships/slideLayout" Target="../slideLayouts/slideLayout914.xml"/><Relationship Id="rId240" Type="http://schemas.openxmlformats.org/officeDocument/2006/relationships/slideLayout" Target="../slideLayouts/slideLayout718.xml"/><Relationship Id="rId35" Type="http://schemas.openxmlformats.org/officeDocument/2006/relationships/slideLayout" Target="../slideLayouts/slideLayout513.xml"/><Relationship Id="rId77" Type="http://schemas.openxmlformats.org/officeDocument/2006/relationships/slideLayout" Target="../slideLayouts/slideLayout555.xml"/><Relationship Id="rId100" Type="http://schemas.openxmlformats.org/officeDocument/2006/relationships/slideLayout" Target="../slideLayouts/slideLayout578.xml"/><Relationship Id="rId282" Type="http://schemas.openxmlformats.org/officeDocument/2006/relationships/slideLayout" Target="../slideLayouts/slideLayout760.xml"/><Relationship Id="rId338" Type="http://schemas.openxmlformats.org/officeDocument/2006/relationships/slideLayout" Target="../slideLayouts/slideLayout816.xml"/><Relationship Id="rId8" Type="http://schemas.openxmlformats.org/officeDocument/2006/relationships/slideLayout" Target="../slideLayouts/slideLayout486.xml"/><Relationship Id="rId142" Type="http://schemas.openxmlformats.org/officeDocument/2006/relationships/slideLayout" Target="../slideLayouts/slideLayout620.xml"/><Relationship Id="rId184" Type="http://schemas.openxmlformats.org/officeDocument/2006/relationships/slideLayout" Target="../slideLayouts/slideLayout662.xml"/><Relationship Id="rId391" Type="http://schemas.openxmlformats.org/officeDocument/2006/relationships/slideLayout" Target="../slideLayouts/slideLayout869.xml"/><Relationship Id="rId405" Type="http://schemas.openxmlformats.org/officeDocument/2006/relationships/slideLayout" Target="../slideLayouts/slideLayout883.xml"/><Relationship Id="rId447" Type="http://schemas.openxmlformats.org/officeDocument/2006/relationships/slideLayout" Target="../slideLayouts/slideLayout925.xml"/><Relationship Id="rId251" Type="http://schemas.openxmlformats.org/officeDocument/2006/relationships/slideLayout" Target="../slideLayouts/slideLayout729.xml"/><Relationship Id="rId46" Type="http://schemas.openxmlformats.org/officeDocument/2006/relationships/slideLayout" Target="../slideLayouts/slideLayout524.xml"/><Relationship Id="rId293" Type="http://schemas.openxmlformats.org/officeDocument/2006/relationships/slideLayout" Target="../slideLayouts/slideLayout771.xml"/><Relationship Id="rId307" Type="http://schemas.openxmlformats.org/officeDocument/2006/relationships/slideLayout" Target="../slideLayouts/slideLayout785.xml"/><Relationship Id="rId349" Type="http://schemas.openxmlformats.org/officeDocument/2006/relationships/slideLayout" Target="../slideLayouts/slideLayout827.xml"/><Relationship Id="rId88" Type="http://schemas.openxmlformats.org/officeDocument/2006/relationships/slideLayout" Target="../slideLayouts/slideLayout566.xml"/><Relationship Id="rId111" Type="http://schemas.openxmlformats.org/officeDocument/2006/relationships/slideLayout" Target="../slideLayouts/slideLayout589.xml"/><Relationship Id="rId153" Type="http://schemas.openxmlformats.org/officeDocument/2006/relationships/slideLayout" Target="../slideLayouts/slideLayout631.xml"/><Relationship Id="rId195" Type="http://schemas.openxmlformats.org/officeDocument/2006/relationships/slideLayout" Target="../slideLayouts/slideLayout673.xml"/><Relationship Id="rId209" Type="http://schemas.openxmlformats.org/officeDocument/2006/relationships/slideLayout" Target="../slideLayouts/slideLayout687.xml"/><Relationship Id="rId360" Type="http://schemas.openxmlformats.org/officeDocument/2006/relationships/slideLayout" Target="../slideLayouts/slideLayout838.xml"/><Relationship Id="rId416" Type="http://schemas.openxmlformats.org/officeDocument/2006/relationships/slideLayout" Target="../slideLayouts/slideLayout894.xml"/><Relationship Id="rId220" Type="http://schemas.openxmlformats.org/officeDocument/2006/relationships/slideLayout" Target="../slideLayouts/slideLayout698.xml"/><Relationship Id="rId15" Type="http://schemas.openxmlformats.org/officeDocument/2006/relationships/slideLayout" Target="../slideLayouts/slideLayout493.xml"/><Relationship Id="rId57" Type="http://schemas.openxmlformats.org/officeDocument/2006/relationships/slideLayout" Target="../slideLayouts/slideLayout535.xml"/><Relationship Id="rId262" Type="http://schemas.openxmlformats.org/officeDocument/2006/relationships/slideLayout" Target="../slideLayouts/slideLayout740.xml"/><Relationship Id="rId318" Type="http://schemas.openxmlformats.org/officeDocument/2006/relationships/slideLayout" Target="../slideLayouts/slideLayout796.xml"/><Relationship Id="rId99" Type="http://schemas.openxmlformats.org/officeDocument/2006/relationships/slideLayout" Target="../slideLayouts/slideLayout577.xml"/><Relationship Id="rId122" Type="http://schemas.openxmlformats.org/officeDocument/2006/relationships/slideLayout" Target="../slideLayouts/slideLayout600.xml"/><Relationship Id="rId164" Type="http://schemas.openxmlformats.org/officeDocument/2006/relationships/slideLayout" Target="../slideLayouts/slideLayout642.xml"/><Relationship Id="rId371" Type="http://schemas.openxmlformats.org/officeDocument/2006/relationships/slideLayout" Target="../slideLayouts/slideLayout849.xml"/><Relationship Id="rId427" Type="http://schemas.openxmlformats.org/officeDocument/2006/relationships/slideLayout" Target="../slideLayouts/slideLayout905.xml"/><Relationship Id="rId26" Type="http://schemas.openxmlformats.org/officeDocument/2006/relationships/slideLayout" Target="../slideLayouts/slideLayout504.xml"/><Relationship Id="rId231" Type="http://schemas.openxmlformats.org/officeDocument/2006/relationships/slideLayout" Target="../slideLayouts/slideLayout709.xml"/><Relationship Id="rId273" Type="http://schemas.openxmlformats.org/officeDocument/2006/relationships/slideLayout" Target="../slideLayouts/slideLayout751.xml"/><Relationship Id="rId329" Type="http://schemas.openxmlformats.org/officeDocument/2006/relationships/slideLayout" Target="../slideLayouts/slideLayout807.xml"/><Relationship Id="rId68" Type="http://schemas.openxmlformats.org/officeDocument/2006/relationships/slideLayout" Target="../slideLayouts/slideLayout546.xml"/><Relationship Id="rId133" Type="http://schemas.openxmlformats.org/officeDocument/2006/relationships/slideLayout" Target="../slideLayouts/slideLayout611.xml"/><Relationship Id="rId175" Type="http://schemas.openxmlformats.org/officeDocument/2006/relationships/slideLayout" Target="../slideLayouts/slideLayout653.xml"/><Relationship Id="rId340" Type="http://schemas.openxmlformats.org/officeDocument/2006/relationships/slideLayout" Target="../slideLayouts/slideLayout818.xml"/><Relationship Id="rId200" Type="http://schemas.openxmlformats.org/officeDocument/2006/relationships/slideLayout" Target="../slideLayouts/slideLayout678.xml"/><Relationship Id="rId382" Type="http://schemas.openxmlformats.org/officeDocument/2006/relationships/slideLayout" Target="../slideLayouts/slideLayout860.xml"/><Relationship Id="rId438" Type="http://schemas.openxmlformats.org/officeDocument/2006/relationships/slideLayout" Target="../slideLayouts/slideLayout916.xml"/><Relationship Id="rId242" Type="http://schemas.openxmlformats.org/officeDocument/2006/relationships/slideLayout" Target="../slideLayouts/slideLayout720.xml"/><Relationship Id="rId284" Type="http://schemas.openxmlformats.org/officeDocument/2006/relationships/slideLayout" Target="../slideLayouts/slideLayout762.xml"/><Relationship Id="rId37" Type="http://schemas.openxmlformats.org/officeDocument/2006/relationships/slideLayout" Target="../slideLayouts/slideLayout515.xml"/><Relationship Id="rId79" Type="http://schemas.openxmlformats.org/officeDocument/2006/relationships/slideLayout" Target="../slideLayouts/slideLayout557.xml"/><Relationship Id="rId102" Type="http://schemas.openxmlformats.org/officeDocument/2006/relationships/slideLayout" Target="../slideLayouts/slideLayout580.xml"/><Relationship Id="rId144" Type="http://schemas.openxmlformats.org/officeDocument/2006/relationships/slideLayout" Target="../slideLayouts/slideLayout622.xml"/><Relationship Id="rId90" Type="http://schemas.openxmlformats.org/officeDocument/2006/relationships/slideLayout" Target="../slideLayouts/slideLayout568.xml"/><Relationship Id="rId186" Type="http://schemas.openxmlformats.org/officeDocument/2006/relationships/slideLayout" Target="../slideLayouts/slideLayout664.xml"/><Relationship Id="rId351" Type="http://schemas.openxmlformats.org/officeDocument/2006/relationships/slideLayout" Target="../slideLayouts/slideLayout829.xml"/><Relationship Id="rId393" Type="http://schemas.openxmlformats.org/officeDocument/2006/relationships/slideLayout" Target="../slideLayouts/slideLayout871.xml"/><Relationship Id="rId407" Type="http://schemas.openxmlformats.org/officeDocument/2006/relationships/slideLayout" Target="../slideLayouts/slideLayout885.xml"/><Relationship Id="rId449" Type="http://schemas.openxmlformats.org/officeDocument/2006/relationships/slideLayout" Target="../slideLayouts/slideLayout927.xml"/><Relationship Id="rId211" Type="http://schemas.openxmlformats.org/officeDocument/2006/relationships/slideLayout" Target="../slideLayouts/slideLayout689.xml"/><Relationship Id="rId253" Type="http://schemas.openxmlformats.org/officeDocument/2006/relationships/slideLayout" Target="../slideLayouts/slideLayout731.xml"/><Relationship Id="rId295" Type="http://schemas.openxmlformats.org/officeDocument/2006/relationships/slideLayout" Target="../slideLayouts/slideLayout773.xml"/><Relationship Id="rId309" Type="http://schemas.openxmlformats.org/officeDocument/2006/relationships/slideLayout" Target="../slideLayouts/slideLayout787.xml"/><Relationship Id="rId48" Type="http://schemas.openxmlformats.org/officeDocument/2006/relationships/slideLayout" Target="../slideLayouts/slideLayout526.xml"/><Relationship Id="rId113" Type="http://schemas.openxmlformats.org/officeDocument/2006/relationships/slideLayout" Target="../slideLayouts/slideLayout591.xml"/><Relationship Id="rId320" Type="http://schemas.openxmlformats.org/officeDocument/2006/relationships/slideLayout" Target="../slideLayouts/slideLayout798.xml"/><Relationship Id="rId155" Type="http://schemas.openxmlformats.org/officeDocument/2006/relationships/slideLayout" Target="../slideLayouts/slideLayout633.xml"/><Relationship Id="rId197" Type="http://schemas.openxmlformats.org/officeDocument/2006/relationships/slideLayout" Target="../slideLayouts/slideLayout675.xml"/><Relationship Id="rId362" Type="http://schemas.openxmlformats.org/officeDocument/2006/relationships/slideLayout" Target="../slideLayouts/slideLayout840.xml"/><Relationship Id="rId418" Type="http://schemas.openxmlformats.org/officeDocument/2006/relationships/slideLayout" Target="../slideLayouts/slideLayout896.xml"/><Relationship Id="rId222" Type="http://schemas.openxmlformats.org/officeDocument/2006/relationships/slideLayout" Target="../slideLayouts/slideLayout700.xml"/><Relationship Id="rId264" Type="http://schemas.openxmlformats.org/officeDocument/2006/relationships/slideLayout" Target="../slideLayouts/slideLayout742.xml"/><Relationship Id="rId17" Type="http://schemas.openxmlformats.org/officeDocument/2006/relationships/slideLayout" Target="../slideLayouts/slideLayout495.xml"/><Relationship Id="rId59" Type="http://schemas.openxmlformats.org/officeDocument/2006/relationships/slideLayout" Target="../slideLayouts/slideLayout537.xml"/><Relationship Id="rId124" Type="http://schemas.openxmlformats.org/officeDocument/2006/relationships/slideLayout" Target="../slideLayouts/slideLayout602.xml"/><Relationship Id="rId70" Type="http://schemas.openxmlformats.org/officeDocument/2006/relationships/slideLayout" Target="../slideLayouts/slideLayout548.xml"/><Relationship Id="rId166" Type="http://schemas.openxmlformats.org/officeDocument/2006/relationships/slideLayout" Target="../slideLayouts/slideLayout644.xml"/><Relationship Id="rId331" Type="http://schemas.openxmlformats.org/officeDocument/2006/relationships/slideLayout" Target="../slideLayouts/slideLayout809.xml"/><Relationship Id="rId373" Type="http://schemas.openxmlformats.org/officeDocument/2006/relationships/slideLayout" Target="../slideLayouts/slideLayout851.xml"/><Relationship Id="rId429" Type="http://schemas.openxmlformats.org/officeDocument/2006/relationships/slideLayout" Target="../slideLayouts/slideLayout907.xml"/><Relationship Id="rId1" Type="http://schemas.openxmlformats.org/officeDocument/2006/relationships/slideLayout" Target="../slideLayouts/slideLayout479.xml"/><Relationship Id="rId233" Type="http://schemas.openxmlformats.org/officeDocument/2006/relationships/slideLayout" Target="../slideLayouts/slideLayout711.xml"/><Relationship Id="rId440" Type="http://schemas.openxmlformats.org/officeDocument/2006/relationships/slideLayout" Target="../slideLayouts/slideLayout918.xml"/><Relationship Id="rId28" Type="http://schemas.openxmlformats.org/officeDocument/2006/relationships/slideLayout" Target="../slideLayouts/slideLayout506.xml"/><Relationship Id="rId275" Type="http://schemas.openxmlformats.org/officeDocument/2006/relationships/slideLayout" Target="../slideLayouts/slideLayout753.xml"/><Relationship Id="rId300" Type="http://schemas.openxmlformats.org/officeDocument/2006/relationships/slideLayout" Target="../slideLayouts/slideLayout778.xml"/><Relationship Id="rId81" Type="http://schemas.openxmlformats.org/officeDocument/2006/relationships/slideLayout" Target="../slideLayouts/slideLayout559.xml"/><Relationship Id="rId135" Type="http://schemas.openxmlformats.org/officeDocument/2006/relationships/slideLayout" Target="../slideLayouts/slideLayout613.xml"/><Relationship Id="rId177" Type="http://schemas.openxmlformats.org/officeDocument/2006/relationships/slideLayout" Target="../slideLayouts/slideLayout655.xml"/><Relationship Id="rId342" Type="http://schemas.openxmlformats.org/officeDocument/2006/relationships/slideLayout" Target="../slideLayouts/slideLayout820.xml"/><Relationship Id="rId384" Type="http://schemas.openxmlformats.org/officeDocument/2006/relationships/slideLayout" Target="../slideLayouts/slideLayout862.xml"/><Relationship Id="rId202" Type="http://schemas.openxmlformats.org/officeDocument/2006/relationships/slideLayout" Target="../slideLayouts/slideLayout680.xml"/><Relationship Id="rId244" Type="http://schemas.openxmlformats.org/officeDocument/2006/relationships/slideLayout" Target="../slideLayouts/slideLayout722.xml"/><Relationship Id="rId39" Type="http://schemas.openxmlformats.org/officeDocument/2006/relationships/slideLayout" Target="../slideLayouts/slideLayout517.xml"/><Relationship Id="rId286" Type="http://schemas.openxmlformats.org/officeDocument/2006/relationships/slideLayout" Target="../slideLayouts/slideLayout764.xml"/><Relationship Id="rId451" Type="http://schemas.openxmlformats.org/officeDocument/2006/relationships/slideLayout" Target="../slideLayouts/slideLayout929.xml"/><Relationship Id="rId50" Type="http://schemas.openxmlformats.org/officeDocument/2006/relationships/slideLayout" Target="../slideLayouts/slideLayout528.xml"/><Relationship Id="rId104" Type="http://schemas.openxmlformats.org/officeDocument/2006/relationships/slideLayout" Target="../slideLayouts/slideLayout582.xml"/><Relationship Id="rId146" Type="http://schemas.openxmlformats.org/officeDocument/2006/relationships/slideLayout" Target="../slideLayouts/slideLayout624.xml"/><Relationship Id="rId188" Type="http://schemas.openxmlformats.org/officeDocument/2006/relationships/slideLayout" Target="../slideLayouts/slideLayout666.xml"/><Relationship Id="rId311" Type="http://schemas.openxmlformats.org/officeDocument/2006/relationships/slideLayout" Target="../slideLayouts/slideLayout789.xml"/><Relationship Id="rId353" Type="http://schemas.openxmlformats.org/officeDocument/2006/relationships/slideLayout" Target="../slideLayouts/slideLayout831.xml"/><Relationship Id="rId395" Type="http://schemas.openxmlformats.org/officeDocument/2006/relationships/slideLayout" Target="../slideLayouts/slideLayout873.xml"/><Relationship Id="rId409" Type="http://schemas.openxmlformats.org/officeDocument/2006/relationships/slideLayout" Target="../slideLayouts/slideLayout887.xml"/><Relationship Id="rId92" Type="http://schemas.openxmlformats.org/officeDocument/2006/relationships/slideLayout" Target="../slideLayouts/slideLayout570.xml"/><Relationship Id="rId213" Type="http://schemas.openxmlformats.org/officeDocument/2006/relationships/slideLayout" Target="../slideLayouts/slideLayout691.xml"/><Relationship Id="rId420" Type="http://schemas.openxmlformats.org/officeDocument/2006/relationships/slideLayout" Target="../slideLayouts/slideLayout89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2.xml"/><Relationship Id="rId3" Type="http://schemas.openxmlformats.org/officeDocument/2006/relationships/slideLayout" Target="../slideLayouts/slideLayout937.xml"/><Relationship Id="rId7" Type="http://schemas.openxmlformats.org/officeDocument/2006/relationships/slideLayout" Target="../slideLayouts/slideLayout94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936.xml"/><Relationship Id="rId1" Type="http://schemas.openxmlformats.org/officeDocument/2006/relationships/slideLayout" Target="../slideLayouts/slideLayout935.xml"/><Relationship Id="rId6" Type="http://schemas.openxmlformats.org/officeDocument/2006/relationships/slideLayout" Target="../slideLayouts/slideLayout940.xml"/><Relationship Id="rId11" Type="http://schemas.openxmlformats.org/officeDocument/2006/relationships/slideLayout" Target="../slideLayouts/slideLayout945.xml"/><Relationship Id="rId5" Type="http://schemas.openxmlformats.org/officeDocument/2006/relationships/slideLayout" Target="../slideLayouts/slideLayout939.xml"/><Relationship Id="rId10" Type="http://schemas.openxmlformats.org/officeDocument/2006/relationships/slideLayout" Target="../slideLayouts/slideLayout944.xml"/><Relationship Id="rId4" Type="http://schemas.openxmlformats.org/officeDocument/2006/relationships/slideLayout" Target="../slideLayouts/slideLayout938.xml"/><Relationship Id="rId9" Type="http://schemas.openxmlformats.org/officeDocument/2006/relationships/slideLayout" Target="../slideLayouts/slideLayout9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7036" r:id="rId9"/>
    <p:sldLayoutId id="2147487037" r:id="rId10"/>
    <p:sldLayoutId id="2147487038" r:id="rId11"/>
    <p:sldLayoutId id="2147487178" r:id="rId12"/>
    <p:sldLayoutId id="2147487179" r:id="rId13"/>
    <p:sldLayoutId id="2147487180" r:id="rId14"/>
    <p:sldLayoutId id="2147487039" r:id="rId15"/>
    <p:sldLayoutId id="2147487182" r:id="rId16"/>
    <p:sldLayoutId id="2147487183" r:id="rId17"/>
    <p:sldLayoutId id="2147487184" r:id="rId18"/>
    <p:sldLayoutId id="2147487185" r:id="rId19"/>
    <p:sldLayoutId id="2147487040" r:id="rId20"/>
    <p:sldLayoutId id="2147487041" r:id="rId21"/>
    <p:sldLayoutId id="2147487188" r:id="rId22"/>
    <p:sldLayoutId id="2147487189" r:id="rId23"/>
    <p:sldLayoutId id="2147487190" r:id="rId24"/>
    <p:sldLayoutId id="2147487042" r:id="rId25"/>
    <p:sldLayoutId id="2147487192" r:id="rId26"/>
    <p:sldLayoutId id="2147487193" r:id="rId27"/>
    <p:sldLayoutId id="2147487043" r:id="rId28"/>
    <p:sldLayoutId id="2147487044" r:id="rId29"/>
    <p:sldLayoutId id="2147487045" r:id="rId30"/>
    <p:sldLayoutId id="2147487046" r:id="rId31"/>
    <p:sldLayoutId id="2147487047" r:id="rId32"/>
    <p:sldLayoutId id="2147487048" r:id="rId33"/>
    <p:sldLayoutId id="2147487049" r:id="rId34"/>
    <p:sldLayoutId id="2147487050" r:id="rId35"/>
    <p:sldLayoutId id="2147487051" r:id="rId36"/>
    <p:sldLayoutId id="2147487052" r:id="rId37"/>
    <p:sldLayoutId id="2147487053" r:id="rId38"/>
    <p:sldLayoutId id="2147487205" r:id="rId39"/>
    <p:sldLayoutId id="2147487207" r:id="rId40"/>
    <p:sldLayoutId id="2147487208" r:id="rId41"/>
    <p:sldLayoutId id="2147487209" r:id="rId42"/>
    <p:sldLayoutId id="2147487210" r:id="rId43"/>
    <p:sldLayoutId id="2147487211" r:id="rId44"/>
    <p:sldLayoutId id="2147487212" r:id="rId45"/>
    <p:sldLayoutId id="2147487213" r:id="rId46"/>
    <p:sldLayoutId id="2147487214" r:id="rId47"/>
    <p:sldLayoutId id="2147487215" r:id="rId48"/>
    <p:sldLayoutId id="2147487225" r:id="rId49"/>
    <p:sldLayoutId id="2147487226" r:id="rId50"/>
    <p:sldLayoutId id="2147487227" r:id="rId51"/>
    <p:sldLayoutId id="2147487228" r:id="rId52"/>
    <p:sldLayoutId id="2147487229" r:id="rId53"/>
    <p:sldLayoutId id="2147487058" r:id="rId54"/>
    <p:sldLayoutId id="2147487231" r:id="rId55"/>
    <p:sldLayoutId id="2147487232" r:id="rId56"/>
    <p:sldLayoutId id="2147487233" r:id="rId57"/>
    <p:sldLayoutId id="2147487234" r:id="rId58"/>
    <p:sldLayoutId id="2147487235" r:id="rId59"/>
    <p:sldLayoutId id="2147487236" r:id="rId60"/>
    <p:sldLayoutId id="2147487237" r:id="rId61"/>
    <p:sldLayoutId id="2147487059" r:id="rId62"/>
    <p:sldLayoutId id="2147487060" r:id="rId63"/>
    <p:sldLayoutId id="2147487061" r:id="rId64"/>
    <p:sldLayoutId id="2147487062" r:id="rId65"/>
    <p:sldLayoutId id="2147487242" r:id="rId66"/>
    <p:sldLayoutId id="2147487063" r:id="rId67"/>
    <p:sldLayoutId id="2147487244" r:id="rId68"/>
    <p:sldLayoutId id="2147487245" r:id="rId69"/>
    <p:sldLayoutId id="2147487246" r:id="rId70"/>
    <p:sldLayoutId id="2147487064" r:id="rId71"/>
    <p:sldLayoutId id="2147487248" r:id="rId72"/>
    <p:sldLayoutId id="2147487249" r:id="rId73"/>
    <p:sldLayoutId id="2147487250" r:id="rId74"/>
    <p:sldLayoutId id="2147487251" r:id="rId75"/>
    <p:sldLayoutId id="2147487252" r:id="rId76"/>
    <p:sldLayoutId id="2147487253" r:id="rId77"/>
    <p:sldLayoutId id="2147487065" r:id="rId78"/>
    <p:sldLayoutId id="2147487066" r:id="rId79"/>
    <p:sldLayoutId id="2147487067" r:id="rId80"/>
    <p:sldLayoutId id="2147487068" r:id="rId81"/>
    <p:sldLayoutId id="2147487069" r:id="rId82"/>
    <p:sldLayoutId id="2147487070" r:id="rId83"/>
    <p:sldLayoutId id="2147487071" r:id="rId84"/>
    <p:sldLayoutId id="2147487072" r:id="rId85"/>
    <p:sldLayoutId id="2147487073" r:id="rId86"/>
    <p:sldLayoutId id="2147487074" r:id="rId87"/>
    <p:sldLayoutId id="2147487075" r:id="rId88"/>
    <p:sldLayoutId id="2147487155" r:id="rId89"/>
    <p:sldLayoutId id="2147487265" r:id="rId90"/>
    <p:sldLayoutId id="2147487266" r:id="rId91"/>
    <p:sldLayoutId id="2147487076" r:id="rId92"/>
    <p:sldLayoutId id="2147487078" r:id="rId93"/>
    <p:sldLayoutId id="2147487270" r:id="rId94"/>
    <p:sldLayoutId id="2147487271" r:id="rId95"/>
    <p:sldLayoutId id="2147487272" r:id="rId96"/>
    <p:sldLayoutId id="2147487273" r:id="rId97"/>
    <p:sldLayoutId id="2147487274" r:id="rId98"/>
    <p:sldLayoutId id="2147487275" r:id="rId99"/>
    <p:sldLayoutId id="2147487276" r:id="rId100"/>
    <p:sldLayoutId id="2147487277" r:id="rId101"/>
    <p:sldLayoutId id="2147487079" r:id="rId102"/>
    <p:sldLayoutId id="2147487080" r:id="rId103"/>
    <p:sldLayoutId id="2147487081" r:id="rId104"/>
    <p:sldLayoutId id="2147487082" r:id="rId105"/>
    <p:sldLayoutId id="2147487083" r:id="rId106"/>
    <p:sldLayoutId id="2147487084" r:id="rId107"/>
    <p:sldLayoutId id="2147487085" r:id="rId108"/>
    <p:sldLayoutId id="2147487086" r:id="rId109"/>
    <p:sldLayoutId id="2147487311" r:id="rId110"/>
    <p:sldLayoutId id="2147487096" r:id="rId111"/>
    <p:sldLayoutId id="2147487099" r:id="rId112"/>
    <p:sldLayoutId id="2147487104" r:id="rId113"/>
    <p:sldLayoutId id="2147487326" r:id="rId114"/>
    <p:sldLayoutId id="2147487105" r:id="rId115"/>
    <p:sldLayoutId id="2147487106" r:id="rId116"/>
    <p:sldLayoutId id="2147487107" r:id="rId117"/>
    <p:sldLayoutId id="2147487108" r:id="rId118"/>
    <p:sldLayoutId id="2147487109" r:id="rId119"/>
    <p:sldLayoutId id="2147487110" r:id="rId120"/>
    <p:sldLayoutId id="2147487111" r:id="rId121"/>
    <p:sldLayoutId id="2147487112" r:id="rId122"/>
    <p:sldLayoutId id="2147487113" r:id="rId123"/>
    <p:sldLayoutId id="2147487118" r:id="rId124"/>
    <p:sldLayoutId id="2147487119" r:id="rId125"/>
    <p:sldLayoutId id="2147487120" r:id="rId126"/>
    <p:sldLayoutId id="2147487121" r:id="rId127"/>
    <p:sldLayoutId id="2147487122" r:id="rId128"/>
    <p:sldLayoutId id="2147487123" r:id="rId129"/>
    <p:sldLayoutId id="2147487346" r:id="rId130"/>
    <p:sldLayoutId id="2147487124" r:id="rId131"/>
    <p:sldLayoutId id="2147487348" r:id="rId132"/>
    <p:sldLayoutId id="2147487349" r:id="rId133"/>
    <p:sldLayoutId id="2147483847" r:id="rId134"/>
    <p:sldLayoutId id="2147483848" r:id="rId135"/>
    <p:sldLayoutId id="2147483849" r:id="rId136"/>
    <p:sldLayoutId id="2147483850" r:id="rId137"/>
    <p:sldLayoutId id="2147483862" r:id="rId138"/>
    <p:sldLayoutId id="2147483863" r:id="rId139"/>
    <p:sldLayoutId id="2147483864" r:id="rId140"/>
    <p:sldLayoutId id="2147483865" r:id="rId141"/>
    <p:sldLayoutId id="2147483866" r:id="rId142"/>
    <p:sldLayoutId id="2147483867" r:id="rId143"/>
    <p:sldLayoutId id="2147483868" r:id="rId144"/>
    <p:sldLayoutId id="2147483869" r:id="rId145"/>
    <p:sldLayoutId id="2147483870" r:id="rId146"/>
    <p:sldLayoutId id="2147483871" r:id="rId147"/>
    <p:sldLayoutId id="2147483872" r:id="rId148"/>
    <p:sldLayoutId id="2147483875" r:id="rId149"/>
    <p:sldLayoutId id="2147483876" r:id="rId150"/>
    <p:sldLayoutId id="2147483877" r:id="rId151"/>
    <p:sldLayoutId id="2147483878" r:id="rId152"/>
    <p:sldLayoutId id="2147483879" r:id="rId153"/>
    <p:sldLayoutId id="2147483880" r:id="rId154"/>
    <p:sldLayoutId id="2147483881" r:id="rId155"/>
    <p:sldLayoutId id="2147483882" r:id="rId156"/>
    <p:sldLayoutId id="2147483884" r:id="rId157"/>
    <p:sldLayoutId id="2147483885" r:id="rId158"/>
    <p:sldLayoutId id="2147483886" r:id="rId159"/>
    <p:sldLayoutId id="2147483887" r:id="rId160"/>
    <p:sldLayoutId id="2147483888" r:id="rId161"/>
    <p:sldLayoutId id="2147483889" r:id="rId162"/>
    <p:sldLayoutId id="2147483890" r:id="rId163"/>
    <p:sldLayoutId id="2147483891" r:id="rId164"/>
    <p:sldLayoutId id="2147483892" r:id="rId165"/>
    <p:sldLayoutId id="2147483893" r:id="rId166"/>
    <p:sldLayoutId id="2147483894" r:id="rId167"/>
    <p:sldLayoutId id="2147483896" r:id="rId168"/>
    <p:sldLayoutId id="2147483897" r:id="rId169"/>
    <p:sldLayoutId id="2147483898" r:id="rId170"/>
    <p:sldLayoutId id="2147483899" r:id="rId171"/>
    <p:sldLayoutId id="2147483900" r:id="rId172"/>
    <p:sldLayoutId id="2147483901" r:id="rId173"/>
    <p:sldLayoutId id="2147483902" r:id="rId174"/>
    <p:sldLayoutId id="2147483903" r:id="rId175"/>
    <p:sldLayoutId id="2147487126" r:id="rId176"/>
    <p:sldLayoutId id="2147487128" r:id="rId177"/>
    <p:sldLayoutId id="2147487127" r:id="rId178"/>
    <p:sldLayoutId id="2147487132" r:id="rId179"/>
    <p:sldLayoutId id="2147487133" r:id="rId180"/>
    <p:sldLayoutId id="2147487134" r:id="rId181"/>
    <p:sldLayoutId id="2147487135" r:id="rId182"/>
    <p:sldLayoutId id="2147487136" r:id="rId183"/>
    <p:sldLayoutId id="2147487137" r:id="rId184"/>
    <p:sldLayoutId id="2147487138" r:id="rId185"/>
    <p:sldLayoutId id="2147487139" r:id="rId186"/>
    <p:sldLayoutId id="2147487140" r:id="rId187"/>
    <p:sldLayoutId id="2147487141" r:id="rId188"/>
    <p:sldLayoutId id="2147483934" r:id="rId189"/>
    <p:sldLayoutId id="2147483935" r:id="rId190"/>
    <p:sldLayoutId id="2147483735" r:id="rId191"/>
    <p:sldLayoutId id="2147486987" r:id="rId192"/>
    <p:sldLayoutId id="2147487355" r:id="rId193"/>
    <p:sldLayoutId id="2147487369" r:id="rId194"/>
    <p:sldLayoutId id="2147487356" r:id="rId195"/>
    <p:sldLayoutId id="2147487357" r:id="rId196"/>
    <p:sldLayoutId id="2147487358" r:id="rId197"/>
    <p:sldLayoutId id="2147485074" r:id="rId198"/>
    <p:sldLayoutId id="2147485075" r:id="rId199"/>
    <p:sldLayoutId id="2147485076" r:id="rId200"/>
    <p:sldLayoutId id="2147485077" r:id="rId201"/>
    <p:sldLayoutId id="2147485078" r:id="rId202"/>
    <p:sldLayoutId id="2147484851" r:id="rId203"/>
    <p:sldLayoutId id="2147487362" r:id="rId204"/>
    <p:sldLayoutId id="2147487360" r:id="rId205"/>
    <p:sldLayoutId id="2147483736" r:id="rId206"/>
    <p:sldLayoutId id="2147487359" r:id="rId207"/>
    <p:sldLayoutId id="2147487361" r:id="rId208"/>
    <p:sldLayoutId id="2147484627" r:id="rId209"/>
    <p:sldLayoutId id="2147485879" r:id="rId210"/>
    <p:sldLayoutId id="2147484838" r:id="rId211"/>
    <p:sldLayoutId id="2147485857" r:id="rId212"/>
    <p:sldLayoutId id="2147485858" r:id="rId213"/>
    <p:sldLayoutId id="2147485859" r:id="rId214"/>
    <p:sldLayoutId id="2147485860" r:id="rId215"/>
    <p:sldLayoutId id="2147485861" r:id="rId216"/>
    <p:sldLayoutId id="2147484634" r:id="rId217"/>
    <p:sldLayoutId id="2147484635" r:id="rId218"/>
    <p:sldLayoutId id="2147484238" r:id="rId219"/>
    <p:sldLayoutId id="2147486915" r:id="rId220"/>
    <p:sldLayoutId id="2147484840" r:id="rId221"/>
    <p:sldLayoutId id="2147486917" r:id="rId222"/>
    <p:sldLayoutId id="2147484203" r:id="rId223"/>
    <p:sldLayoutId id="2147484204" r:id="rId224"/>
    <p:sldLayoutId id="2147484205" r:id="rId225"/>
    <p:sldLayoutId id="2147484206" r:id="rId226"/>
    <p:sldLayoutId id="2147484237" r:id="rId227"/>
    <p:sldLayoutId id="2147484208" r:id="rId228"/>
    <p:sldLayoutId id="2147485064" r:id="rId229"/>
    <p:sldLayoutId id="2147485065" r:id="rId230"/>
    <p:sldLayoutId id="2147486965" r:id="rId231"/>
    <p:sldLayoutId id="2147485066" r:id="rId232"/>
    <p:sldLayoutId id="2147485067" r:id="rId233"/>
    <p:sldLayoutId id="2147485068" r:id="rId234"/>
    <p:sldLayoutId id="2147485069" r:id="rId235"/>
    <p:sldLayoutId id="2147485352" r:id="rId236"/>
    <p:sldLayoutId id="2147485070" r:id="rId237"/>
    <p:sldLayoutId id="2147486030" r:id="rId238"/>
    <p:sldLayoutId id="2147485071" r:id="rId239"/>
    <p:sldLayoutId id="2147487168" r:id="rId240"/>
    <p:sldLayoutId id="2147484626" r:id="rId241"/>
    <p:sldLayoutId id="2147484836" r:id="rId242"/>
    <p:sldLayoutId id="2147484837" r:id="rId243"/>
    <p:sldLayoutId id="2147487169" r:id="rId244"/>
    <p:sldLayoutId id="2147484602" r:id="rId245"/>
    <p:sldLayoutId id="2147484603" r:id="rId246"/>
    <p:sldLayoutId id="2147484604" r:id="rId247"/>
    <p:sldLayoutId id="2147484839" r:id="rId248"/>
    <p:sldLayoutId id="2147485847" r:id="rId249"/>
    <p:sldLayoutId id="2147485848" r:id="rId250"/>
    <p:sldLayoutId id="2147485849" r:id="rId251"/>
    <p:sldLayoutId id="2147485850" r:id="rId252"/>
    <p:sldLayoutId id="2147485851" r:id="rId253"/>
    <p:sldLayoutId id="2147485852" r:id="rId254"/>
    <p:sldLayoutId id="2147485853" r:id="rId255"/>
    <p:sldLayoutId id="2147485854" r:id="rId256"/>
    <p:sldLayoutId id="2147485855" r:id="rId257"/>
    <p:sldLayoutId id="2147485856" r:id="rId258"/>
    <p:sldLayoutId id="2147484384" r:id="rId259"/>
    <p:sldLayoutId id="2147485405" r:id="rId260"/>
    <p:sldLayoutId id="2147484559" r:id="rId261"/>
    <p:sldLayoutId id="2147484385" r:id="rId262"/>
    <p:sldLayoutId id="2147485406" r:id="rId263"/>
    <p:sldLayoutId id="2147484387" r:id="rId264"/>
    <p:sldLayoutId id="2147484388" r:id="rId265"/>
    <p:sldLayoutId id="2147484389" r:id="rId266"/>
    <p:sldLayoutId id="2147484390" r:id="rId267"/>
    <p:sldLayoutId id="2147484391" r:id="rId268"/>
    <p:sldLayoutId id="2147484392" r:id="rId269"/>
    <p:sldLayoutId id="2147486200" r:id="rId270"/>
    <p:sldLayoutId id="2147485878" r:id="rId271"/>
    <p:sldLayoutId id="2147484654" r:id="rId272"/>
    <p:sldLayoutId id="2147484655" r:id="rId273"/>
    <p:sldLayoutId id="2147484608" r:id="rId274"/>
    <p:sldLayoutId id="2147485213" r:id="rId275"/>
    <p:sldLayoutId id="2147485214" r:id="rId276"/>
    <p:sldLayoutId id="2147485179" r:id="rId277"/>
    <p:sldLayoutId id="2147486360" r:id="rId278"/>
    <p:sldLayoutId id="2147485556" r:id="rId279"/>
    <p:sldLayoutId id="2147486361" r:id="rId280"/>
    <p:sldLayoutId id="2147484335" r:id="rId281"/>
    <p:sldLayoutId id="2147484336" r:id="rId282"/>
    <p:sldLayoutId id="2147484337" r:id="rId283"/>
    <p:sldLayoutId id="2147484853" r:id="rId284"/>
    <p:sldLayoutId id="2147484339" r:id="rId285"/>
    <p:sldLayoutId id="2147484340" r:id="rId286"/>
    <p:sldLayoutId id="2147484341" r:id="rId287"/>
    <p:sldLayoutId id="2147484342" r:id="rId288"/>
    <p:sldLayoutId id="2147484343" r:id="rId289"/>
    <p:sldLayoutId id="2147484344" r:id="rId290"/>
    <p:sldLayoutId id="2147485468" r:id="rId291"/>
    <p:sldLayoutId id="2147485865" r:id="rId292"/>
    <p:sldLayoutId id="2147484364" r:id="rId293"/>
    <p:sldLayoutId id="2147485358" r:id="rId294"/>
    <p:sldLayoutId id="2147485868" r:id="rId295"/>
    <p:sldLayoutId id="2147485869" r:id="rId296"/>
    <p:sldLayoutId id="2147485870" r:id="rId297"/>
    <p:sldLayoutId id="2147485385" r:id="rId298"/>
    <p:sldLayoutId id="2147485871" r:id="rId299"/>
    <p:sldLayoutId id="2147485469" r:id="rId300"/>
    <p:sldLayoutId id="2147484222" r:id="rId301"/>
    <p:sldLayoutId id="2147484854" r:id="rId302"/>
    <p:sldLayoutId id="2147485079" r:id="rId303"/>
    <p:sldLayoutId id="2147485080" r:id="rId304"/>
    <p:sldLayoutId id="2147485081" r:id="rId305"/>
    <p:sldLayoutId id="2147485082" r:id="rId306"/>
    <p:sldLayoutId id="2147485083" r:id="rId307"/>
    <p:sldLayoutId id="2147484596" r:id="rId308"/>
    <p:sldLayoutId id="2147484835" r:id="rId309"/>
    <p:sldLayoutId id="2147484852" r:id="rId310"/>
    <p:sldLayoutId id="2147485093" r:id="rId311"/>
    <p:sldLayoutId id="2147485355" r:id="rId312"/>
    <p:sldLayoutId id="2147484355" r:id="rId313"/>
    <p:sldLayoutId id="2147485444" r:id="rId314"/>
    <p:sldLayoutId id="2147484356" r:id="rId315"/>
    <p:sldLayoutId id="2147483860" r:id="rId316"/>
    <p:sldLayoutId id="2147484357" r:id="rId317"/>
    <p:sldLayoutId id="2147484358" r:id="rId318"/>
    <p:sldLayoutId id="2147484359" r:id="rId319"/>
    <p:sldLayoutId id="2147484360" r:id="rId320"/>
    <p:sldLayoutId id="2147484361" r:id="rId321"/>
    <p:sldLayoutId id="2147484393" r:id="rId322"/>
    <p:sldLayoutId id="2147484394" r:id="rId323"/>
    <p:sldLayoutId id="2147484845" r:id="rId324"/>
    <p:sldLayoutId id="2147484846" r:id="rId325"/>
    <p:sldLayoutId id="2147484566" r:id="rId326"/>
    <p:sldLayoutId id="2147485470" r:id="rId327"/>
    <p:sldLayoutId id="2147484231" r:id="rId328"/>
    <p:sldLayoutId id="2147484268" r:id="rId329"/>
    <p:sldLayoutId id="2147484235" r:id="rId330"/>
    <p:sldLayoutId id="2147484847" r:id="rId331"/>
    <p:sldLayoutId id="2147484245" r:id="rId332"/>
    <p:sldLayoutId id="2147484262" r:id="rId333"/>
    <p:sldLayoutId id="2147486955" r:id="rId334"/>
    <p:sldLayoutId id="2147485238" r:id="rId335"/>
    <p:sldLayoutId id="2147486956" r:id="rId336"/>
    <p:sldLayoutId id="2147484233" r:id="rId337"/>
    <p:sldLayoutId id="2147484821" r:id="rId338"/>
    <p:sldLayoutId id="2147486952" r:id="rId339"/>
    <p:sldLayoutId id="2147485239" r:id="rId340"/>
    <p:sldLayoutId id="2147484848" r:id="rId341"/>
    <p:sldLayoutId id="2147486048" r:id="rId342"/>
    <p:sldLayoutId id="2147486954" r:id="rId343"/>
    <p:sldLayoutId id="2147484400" r:id="rId344"/>
    <p:sldLayoutId id="2147484401" r:id="rId345"/>
    <p:sldLayoutId id="2147484402" r:id="rId346"/>
    <p:sldLayoutId id="2147484822" r:id="rId347"/>
    <p:sldLayoutId id="2147486251" r:id="rId348"/>
    <p:sldLayoutId id="2147484334" r:id="rId349"/>
    <p:sldLayoutId id="2147487351" r:id="rId350"/>
    <p:sldLayoutId id="2147486990" r:id="rId351"/>
    <p:sldLayoutId id="2147484585" r:id="rId352"/>
    <p:sldLayoutId id="2147484586" r:id="rId353"/>
    <p:sldLayoutId id="2147484587" r:id="rId354"/>
    <p:sldLayoutId id="2147484588" r:id="rId355"/>
    <p:sldLayoutId id="2147484592" r:id="rId356"/>
    <p:sldLayoutId id="2147484593" r:id="rId357"/>
    <p:sldLayoutId id="2147484594" r:id="rId358"/>
    <p:sldLayoutId id="2147487156" r:id="rId359"/>
    <p:sldLayoutId id="2147485370" r:id="rId360"/>
    <p:sldLayoutId id="2147485872" r:id="rId361"/>
    <p:sldLayoutId id="2147486927" r:id="rId362"/>
    <p:sldLayoutId id="2147485367" r:id="rId363"/>
    <p:sldLayoutId id="2147485368" r:id="rId364"/>
    <p:sldLayoutId id="2147485369" r:id="rId365"/>
    <p:sldLayoutId id="2147485400" r:id="rId366"/>
    <p:sldLayoutId id="2147485401" r:id="rId367"/>
    <p:sldLayoutId id="2147485402" r:id="rId368"/>
    <p:sldLayoutId id="2147485403" r:id="rId369"/>
    <p:sldLayoutId id="2147483752" r:id="rId370"/>
    <p:sldLayoutId id="2147483753" r:id="rId371"/>
    <p:sldLayoutId id="2147483754" r:id="rId372"/>
    <p:sldLayoutId id="2147483755" r:id="rId373"/>
    <p:sldLayoutId id="2147484386" r:id="rId374"/>
    <p:sldLayoutId id="2147484815" r:id="rId375"/>
    <p:sldLayoutId id="2147484816" r:id="rId376"/>
    <p:sldLayoutId id="2147484817" r:id="rId377"/>
    <p:sldLayoutId id="2147484330" r:id="rId378"/>
    <p:sldLayoutId id="2147484331" r:id="rId379"/>
    <p:sldLayoutId id="2147484332" r:id="rId380"/>
    <p:sldLayoutId id="2147484477" r:id="rId381"/>
    <p:sldLayoutId id="2147484478" r:id="rId382"/>
    <p:sldLayoutId id="2147484260" r:id="rId383"/>
    <p:sldLayoutId id="2147484856" r:id="rId384"/>
    <p:sldLayoutId id="2147484480" r:id="rId385"/>
    <p:sldLayoutId id="2147484267" r:id="rId386"/>
    <p:sldLayoutId id="2147484481" r:id="rId387"/>
    <p:sldLayoutId id="2147484482" r:id="rId388"/>
    <p:sldLayoutId id="2147484483" r:id="rId389"/>
    <p:sldLayoutId id="2147484484" r:id="rId390"/>
    <p:sldLayoutId id="2147486991" r:id="rId391"/>
    <p:sldLayoutId id="2147486992" r:id="rId392"/>
    <p:sldLayoutId id="2147486252" r:id="rId393"/>
    <p:sldLayoutId id="2147486253" r:id="rId394"/>
    <p:sldLayoutId id="2147486363" r:id="rId395"/>
    <p:sldLayoutId id="2147487006" r:id="rId396"/>
    <p:sldLayoutId id="2147486364" r:id="rId397"/>
    <p:sldLayoutId id="2147486365" r:id="rId398"/>
    <p:sldLayoutId id="2147487007" r:id="rId399"/>
    <p:sldLayoutId id="2147483940" r:id="rId400"/>
    <p:sldLayoutId id="2147486366" r:id="rId401"/>
    <p:sldLayoutId id="2147486367" r:id="rId402"/>
    <p:sldLayoutId id="2147486368" r:id="rId403"/>
    <p:sldLayoutId id="2147486369" r:id="rId404"/>
    <p:sldLayoutId id="2147483945" r:id="rId405"/>
    <p:sldLayoutId id="2147483967" r:id="rId406"/>
    <p:sldLayoutId id="2147483968" r:id="rId407"/>
    <p:sldLayoutId id="2147483969" r:id="rId408"/>
    <p:sldLayoutId id="2147483970" r:id="rId409"/>
    <p:sldLayoutId id="2147483971" r:id="rId410"/>
    <p:sldLayoutId id="2147483972" r:id="rId411"/>
    <p:sldLayoutId id="2147483973" r:id="rId412"/>
    <p:sldLayoutId id="2147483976" r:id="rId413"/>
    <p:sldLayoutId id="2147483977" r:id="rId414"/>
    <p:sldLayoutId id="2147483978" r:id="rId415"/>
    <p:sldLayoutId id="2147483983" r:id="rId416"/>
    <p:sldLayoutId id="2147483984" r:id="rId417"/>
    <p:sldLayoutId id="2147483985" r:id="rId418"/>
    <p:sldLayoutId id="2147483986" r:id="rId419"/>
    <p:sldLayoutId id="2147483989" r:id="rId420"/>
    <p:sldLayoutId id="2147483990" r:id="rId421"/>
    <p:sldLayoutId id="2147483991" r:id="rId422"/>
    <p:sldLayoutId id="2147483992" r:id="rId423"/>
    <p:sldLayoutId id="2147483993" r:id="rId424"/>
    <p:sldLayoutId id="2147483996" r:id="rId425"/>
    <p:sldLayoutId id="2147483997" r:id="rId426"/>
    <p:sldLayoutId id="2147483998" r:id="rId427"/>
    <p:sldLayoutId id="2147483999" r:id="rId428"/>
    <p:sldLayoutId id="2147484000" r:id="rId429"/>
    <p:sldLayoutId id="2147484001" r:id="rId430"/>
    <p:sldLayoutId id="2147487008" r:id="rId431"/>
    <p:sldLayoutId id="2147487009" r:id="rId432"/>
    <p:sldLayoutId id="2147487010" r:id="rId433"/>
    <p:sldLayoutId id="2147487011" r:id="rId434"/>
    <p:sldLayoutId id="2147487012" r:id="rId435"/>
    <p:sldLayoutId id="2147487013" r:id="rId436"/>
    <p:sldLayoutId id="2147488239" r:id="rId437"/>
    <p:sldLayoutId id="2147485215" r:id="rId438"/>
    <p:sldLayoutId id="2147485425" r:id="rId439"/>
    <p:sldLayoutId id="2147485903" r:id="rId440"/>
    <p:sldLayoutId id="2147485904" r:id="rId441"/>
    <p:sldLayoutId id="2147485391" r:id="rId442"/>
    <p:sldLayoutId id="2147485392" r:id="rId443"/>
    <p:sldLayoutId id="2147484376" r:id="rId444"/>
    <p:sldLayoutId id="2147485905" r:id="rId445"/>
    <p:sldLayoutId id="2147485906" r:id="rId446"/>
    <p:sldLayoutId id="2147485394" r:id="rId447"/>
    <p:sldLayoutId id="2147485395" r:id="rId448"/>
    <p:sldLayoutId id="2147486284" r:id="rId449"/>
    <p:sldLayoutId id="2147484378" r:id="rId450"/>
    <p:sldLayoutId id="2147484379" r:id="rId451"/>
    <p:sldLayoutId id="2147485396" r:id="rId452"/>
    <p:sldLayoutId id="2147488079" r:id="rId453"/>
    <p:sldLayoutId id="2147488240" r:id="rId454"/>
    <p:sldLayoutId id="2147488241" r:id="rId45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6">
                <a:lumMod val="40000"/>
                <a:lumOff val="60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16649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43" r:id="rId1"/>
    <p:sldLayoutId id="2147488244" r:id="rId2"/>
    <p:sldLayoutId id="2147488245" r:id="rId3"/>
    <p:sldLayoutId id="2147488246" r:id="rId4"/>
    <p:sldLayoutId id="2147488247" r:id="rId5"/>
    <p:sldLayoutId id="2147488248" r:id="rId6"/>
    <p:sldLayoutId id="2147488249" r:id="rId7"/>
    <p:sldLayoutId id="2147488250" r:id="rId8"/>
    <p:sldLayoutId id="2147488251" r:id="rId9"/>
    <p:sldLayoutId id="2147488252" r:id="rId10"/>
    <p:sldLayoutId id="2147488253" r:id="rId11"/>
    <p:sldLayoutId id="2147488254" r:id="rId1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21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595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81" r:id="rId1"/>
    <p:sldLayoutId id="2147488282" r:id="rId2"/>
    <p:sldLayoutId id="2147488283" r:id="rId3"/>
    <p:sldLayoutId id="2147488284" r:id="rId4"/>
    <p:sldLayoutId id="2147488285" r:id="rId5"/>
    <p:sldLayoutId id="2147488286" r:id="rId6"/>
    <p:sldLayoutId id="2147488287" r:id="rId7"/>
    <p:sldLayoutId id="2147488288" r:id="rId8"/>
    <p:sldLayoutId id="2147488289" r:id="rId9"/>
    <p:sldLayoutId id="2147488290" r:id="rId10"/>
    <p:sldLayoutId id="2147488291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80497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93" r:id="rId1"/>
    <p:sldLayoutId id="2147488294" r:id="rId2"/>
    <p:sldLayoutId id="2147488295" r:id="rId3"/>
    <p:sldLayoutId id="2147488296" r:id="rId4"/>
    <p:sldLayoutId id="2147488297" r:id="rId5"/>
    <p:sldLayoutId id="2147488298" r:id="rId6"/>
    <p:sldLayoutId id="2147488299" r:id="rId7"/>
    <p:sldLayoutId id="2147488300" r:id="rId8"/>
    <p:sldLayoutId id="2147488301" r:id="rId9"/>
    <p:sldLayoutId id="2147488302" r:id="rId10"/>
    <p:sldLayoutId id="2147488303" r:id="rId11"/>
    <p:sldLayoutId id="2147488304" r:id="rId12"/>
    <p:sldLayoutId id="2147488305" r:id="rId13"/>
    <p:sldLayoutId id="2147488306" r:id="rId14"/>
    <p:sldLayoutId id="2147488307" r:id="rId15"/>
    <p:sldLayoutId id="2147488308" r:id="rId16"/>
    <p:sldLayoutId id="2147488309" r:id="rId17"/>
    <p:sldLayoutId id="2147488310" r:id="rId18"/>
    <p:sldLayoutId id="2147488311" r:id="rId19"/>
    <p:sldLayoutId id="2147488312" r:id="rId20"/>
    <p:sldLayoutId id="2147488313" r:id="rId21"/>
    <p:sldLayoutId id="2147488314" r:id="rId22"/>
    <p:sldLayoutId id="2147488315" r:id="rId23"/>
    <p:sldLayoutId id="2147488316" r:id="rId24"/>
    <p:sldLayoutId id="2147488317" r:id="rId25"/>
    <p:sldLayoutId id="2147488318" r:id="rId26"/>
    <p:sldLayoutId id="2147488319" r:id="rId27"/>
    <p:sldLayoutId id="2147488320" r:id="rId28"/>
    <p:sldLayoutId id="2147488321" r:id="rId29"/>
    <p:sldLayoutId id="2147488322" r:id="rId30"/>
    <p:sldLayoutId id="2147488323" r:id="rId31"/>
    <p:sldLayoutId id="2147488324" r:id="rId32"/>
    <p:sldLayoutId id="2147488325" r:id="rId33"/>
    <p:sldLayoutId id="2147488326" r:id="rId34"/>
    <p:sldLayoutId id="2147488327" r:id="rId35"/>
    <p:sldLayoutId id="2147488328" r:id="rId36"/>
    <p:sldLayoutId id="2147488329" r:id="rId37"/>
    <p:sldLayoutId id="2147488330" r:id="rId38"/>
    <p:sldLayoutId id="2147488331" r:id="rId39"/>
    <p:sldLayoutId id="2147488332" r:id="rId40"/>
    <p:sldLayoutId id="2147488333" r:id="rId41"/>
    <p:sldLayoutId id="2147488334" r:id="rId42"/>
    <p:sldLayoutId id="2147488335" r:id="rId43"/>
    <p:sldLayoutId id="2147488336" r:id="rId44"/>
    <p:sldLayoutId id="2147488337" r:id="rId45"/>
    <p:sldLayoutId id="2147488338" r:id="rId46"/>
    <p:sldLayoutId id="2147488339" r:id="rId47"/>
    <p:sldLayoutId id="2147488340" r:id="rId48"/>
    <p:sldLayoutId id="2147488341" r:id="rId49"/>
    <p:sldLayoutId id="2147488342" r:id="rId50"/>
    <p:sldLayoutId id="2147488343" r:id="rId51"/>
    <p:sldLayoutId id="2147488344" r:id="rId52"/>
    <p:sldLayoutId id="2147488345" r:id="rId53"/>
    <p:sldLayoutId id="2147488346" r:id="rId54"/>
    <p:sldLayoutId id="2147488347" r:id="rId55"/>
    <p:sldLayoutId id="2147488348" r:id="rId56"/>
    <p:sldLayoutId id="2147488349" r:id="rId57"/>
    <p:sldLayoutId id="2147488350" r:id="rId58"/>
    <p:sldLayoutId id="2147488351" r:id="rId59"/>
    <p:sldLayoutId id="2147488352" r:id="rId60"/>
    <p:sldLayoutId id="2147488353" r:id="rId61"/>
    <p:sldLayoutId id="2147488354" r:id="rId62"/>
    <p:sldLayoutId id="2147488355" r:id="rId63"/>
    <p:sldLayoutId id="2147488356" r:id="rId64"/>
    <p:sldLayoutId id="2147488357" r:id="rId65"/>
    <p:sldLayoutId id="2147488358" r:id="rId66"/>
    <p:sldLayoutId id="2147488359" r:id="rId67"/>
    <p:sldLayoutId id="2147488360" r:id="rId68"/>
    <p:sldLayoutId id="2147488361" r:id="rId69"/>
    <p:sldLayoutId id="2147488362" r:id="rId70"/>
    <p:sldLayoutId id="2147488363" r:id="rId71"/>
    <p:sldLayoutId id="2147488364" r:id="rId72"/>
    <p:sldLayoutId id="2147488365" r:id="rId73"/>
    <p:sldLayoutId id="2147488366" r:id="rId74"/>
    <p:sldLayoutId id="2147488367" r:id="rId75"/>
    <p:sldLayoutId id="2147488368" r:id="rId76"/>
    <p:sldLayoutId id="2147488369" r:id="rId77"/>
    <p:sldLayoutId id="2147488370" r:id="rId78"/>
    <p:sldLayoutId id="2147488371" r:id="rId79"/>
    <p:sldLayoutId id="2147488372" r:id="rId80"/>
    <p:sldLayoutId id="2147488373" r:id="rId81"/>
    <p:sldLayoutId id="2147488374" r:id="rId82"/>
    <p:sldLayoutId id="2147488375" r:id="rId83"/>
    <p:sldLayoutId id="2147488376" r:id="rId84"/>
    <p:sldLayoutId id="2147488377" r:id="rId85"/>
    <p:sldLayoutId id="2147488378" r:id="rId86"/>
    <p:sldLayoutId id="2147488379" r:id="rId87"/>
    <p:sldLayoutId id="2147488380" r:id="rId88"/>
    <p:sldLayoutId id="2147488381" r:id="rId89"/>
    <p:sldLayoutId id="2147488382" r:id="rId90"/>
    <p:sldLayoutId id="2147488383" r:id="rId91"/>
    <p:sldLayoutId id="2147488384" r:id="rId92"/>
    <p:sldLayoutId id="2147488385" r:id="rId93"/>
    <p:sldLayoutId id="2147488386" r:id="rId94"/>
    <p:sldLayoutId id="2147488387" r:id="rId95"/>
    <p:sldLayoutId id="2147488388" r:id="rId96"/>
    <p:sldLayoutId id="2147488389" r:id="rId97"/>
    <p:sldLayoutId id="2147488390" r:id="rId98"/>
    <p:sldLayoutId id="2147488391" r:id="rId99"/>
    <p:sldLayoutId id="2147488392" r:id="rId100"/>
    <p:sldLayoutId id="2147488393" r:id="rId101"/>
    <p:sldLayoutId id="2147488394" r:id="rId102"/>
    <p:sldLayoutId id="2147488395" r:id="rId103"/>
    <p:sldLayoutId id="2147488396" r:id="rId104"/>
    <p:sldLayoutId id="2147488397" r:id="rId105"/>
    <p:sldLayoutId id="2147488398" r:id="rId106"/>
    <p:sldLayoutId id="2147488399" r:id="rId107"/>
    <p:sldLayoutId id="2147488400" r:id="rId108"/>
    <p:sldLayoutId id="2147488401" r:id="rId109"/>
    <p:sldLayoutId id="2147488402" r:id="rId110"/>
    <p:sldLayoutId id="2147488403" r:id="rId111"/>
    <p:sldLayoutId id="2147488404" r:id="rId112"/>
    <p:sldLayoutId id="2147488405" r:id="rId113"/>
    <p:sldLayoutId id="2147488406" r:id="rId114"/>
    <p:sldLayoutId id="2147488407" r:id="rId115"/>
    <p:sldLayoutId id="2147488408" r:id="rId116"/>
    <p:sldLayoutId id="2147488409" r:id="rId117"/>
    <p:sldLayoutId id="2147488410" r:id="rId118"/>
    <p:sldLayoutId id="2147488411" r:id="rId119"/>
    <p:sldLayoutId id="2147488412" r:id="rId120"/>
    <p:sldLayoutId id="2147488413" r:id="rId121"/>
    <p:sldLayoutId id="2147488414" r:id="rId122"/>
    <p:sldLayoutId id="2147488415" r:id="rId123"/>
    <p:sldLayoutId id="2147488416" r:id="rId124"/>
    <p:sldLayoutId id="2147488417" r:id="rId125"/>
    <p:sldLayoutId id="2147488418" r:id="rId126"/>
    <p:sldLayoutId id="2147488419" r:id="rId127"/>
    <p:sldLayoutId id="2147488420" r:id="rId128"/>
    <p:sldLayoutId id="2147488421" r:id="rId129"/>
    <p:sldLayoutId id="2147488422" r:id="rId130"/>
    <p:sldLayoutId id="2147488423" r:id="rId131"/>
    <p:sldLayoutId id="2147488424" r:id="rId132"/>
    <p:sldLayoutId id="2147488425" r:id="rId133"/>
    <p:sldLayoutId id="2147488426" r:id="rId134"/>
    <p:sldLayoutId id="2147488427" r:id="rId135"/>
    <p:sldLayoutId id="2147488428" r:id="rId136"/>
    <p:sldLayoutId id="2147488429" r:id="rId137"/>
    <p:sldLayoutId id="2147488430" r:id="rId138"/>
    <p:sldLayoutId id="2147488431" r:id="rId139"/>
    <p:sldLayoutId id="2147488432" r:id="rId140"/>
    <p:sldLayoutId id="2147488433" r:id="rId141"/>
    <p:sldLayoutId id="2147488434" r:id="rId142"/>
    <p:sldLayoutId id="2147488435" r:id="rId143"/>
    <p:sldLayoutId id="2147488436" r:id="rId144"/>
    <p:sldLayoutId id="2147488437" r:id="rId145"/>
    <p:sldLayoutId id="2147488438" r:id="rId146"/>
    <p:sldLayoutId id="2147488439" r:id="rId147"/>
    <p:sldLayoutId id="2147488440" r:id="rId148"/>
    <p:sldLayoutId id="2147488441" r:id="rId149"/>
    <p:sldLayoutId id="2147488442" r:id="rId150"/>
    <p:sldLayoutId id="2147488443" r:id="rId151"/>
    <p:sldLayoutId id="2147488444" r:id="rId152"/>
    <p:sldLayoutId id="2147488445" r:id="rId153"/>
    <p:sldLayoutId id="2147488446" r:id="rId154"/>
    <p:sldLayoutId id="2147488447" r:id="rId155"/>
    <p:sldLayoutId id="2147488448" r:id="rId156"/>
    <p:sldLayoutId id="2147488449" r:id="rId157"/>
    <p:sldLayoutId id="2147488450" r:id="rId158"/>
    <p:sldLayoutId id="2147488451" r:id="rId159"/>
    <p:sldLayoutId id="2147488452" r:id="rId160"/>
    <p:sldLayoutId id="2147488453" r:id="rId161"/>
    <p:sldLayoutId id="2147488454" r:id="rId162"/>
    <p:sldLayoutId id="2147488455" r:id="rId163"/>
    <p:sldLayoutId id="2147488456" r:id="rId164"/>
    <p:sldLayoutId id="2147488457" r:id="rId165"/>
    <p:sldLayoutId id="2147488458" r:id="rId166"/>
    <p:sldLayoutId id="2147488459" r:id="rId167"/>
    <p:sldLayoutId id="2147488460" r:id="rId168"/>
    <p:sldLayoutId id="2147488461" r:id="rId169"/>
    <p:sldLayoutId id="2147488462" r:id="rId170"/>
    <p:sldLayoutId id="2147488463" r:id="rId171"/>
    <p:sldLayoutId id="2147488464" r:id="rId172"/>
    <p:sldLayoutId id="2147488465" r:id="rId173"/>
    <p:sldLayoutId id="2147488466" r:id="rId174"/>
    <p:sldLayoutId id="2147488467" r:id="rId175"/>
    <p:sldLayoutId id="2147488468" r:id="rId176"/>
    <p:sldLayoutId id="2147488469" r:id="rId177"/>
    <p:sldLayoutId id="2147488470" r:id="rId178"/>
    <p:sldLayoutId id="2147488471" r:id="rId179"/>
    <p:sldLayoutId id="2147488472" r:id="rId180"/>
    <p:sldLayoutId id="2147488473" r:id="rId181"/>
    <p:sldLayoutId id="2147488474" r:id="rId182"/>
    <p:sldLayoutId id="2147488475" r:id="rId183"/>
    <p:sldLayoutId id="2147488476" r:id="rId184"/>
    <p:sldLayoutId id="2147488477" r:id="rId185"/>
    <p:sldLayoutId id="2147488478" r:id="rId186"/>
    <p:sldLayoutId id="2147488479" r:id="rId187"/>
    <p:sldLayoutId id="2147488480" r:id="rId188"/>
    <p:sldLayoutId id="2147488481" r:id="rId189"/>
    <p:sldLayoutId id="2147488482" r:id="rId190"/>
    <p:sldLayoutId id="2147488483" r:id="rId191"/>
    <p:sldLayoutId id="2147488484" r:id="rId192"/>
    <p:sldLayoutId id="2147488485" r:id="rId193"/>
    <p:sldLayoutId id="2147488486" r:id="rId194"/>
    <p:sldLayoutId id="2147488487" r:id="rId195"/>
    <p:sldLayoutId id="2147488488" r:id="rId196"/>
    <p:sldLayoutId id="2147488489" r:id="rId197"/>
    <p:sldLayoutId id="2147488490" r:id="rId198"/>
    <p:sldLayoutId id="2147488491" r:id="rId199"/>
    <p:sldLayoutId id="2147488492" r:id="rId200"/>
    <p:sldLayoutId id="2147488493" r:id="rId201"/>
    <p:sldLayoutId id="2147488494" r:id="rId202"/>
    <p:sldLayoutId id="2147488495" r:id="rId203"/>
    <p:sldLayoutId id="2147488496" r:id="rId204"/>
    <p:sldLayoutId id="2147488497" r:id="rId205"/>
    <p:sldLayoutId id="2147488498" r:id="rId206"/>
    <p:sldLayoutId id="2147488499" r:id="rId207"/>
    <p:sldLayoutId id="2147488500" r:id="rId208"/>
    <p:sldLayoutId id="2147488501" r:id="rId209"/>
    <p:sldLayoutId id="2147488502" r:id="rId210"/>
    <p:sldLayoutId id="2147488503" r:id="rId211"/>
    <p:sldLayoutId id="2147488504" r:id="rId212"/>
    <p:sldLayoutId id="2147488505" r:id="rId213"/>
    <p:sldLayoutId id="2147488506" r:id="rId214"/>
    <p:sldLayoutId id="2147488507" r:id="rId215"/>
    <p:sldLayoutId id="2147488508" r:id="rId216"/>
    <p:sldLayoutId id="2147488509" r:id="rId217"/>
    <p:sldLayoutId id="2147488510" r:id="rId218"/>
    <p:sldLayoutId id="2147488511" r:id="rId219"/>
    <p:sldLayoutId id="2147488512" r:id="rId220"/>
    <p:sldLayoutId id="2147488513" r:id="rId221"/>
    <p:sldLayoutId id="2147488514" r:id="rId222"/>
    <p:sldLayoutId id="2147488515" r:id="rId223"/>
    <p:sldLayoutId id="2147488516" r:id="rId224"/>
    <p:sldLayoutId id="2147488517" r:id="rId225"/>
    <p:sldLayoutId id="2147488518" r:id="rId226"/>
    <p:sldLayoutId id="2147488519" r:id="rId227"/>
    <p:sldLayoutId id="2147488520" r:id="rId228"/>
    <p:sldLayoutId id="2147488521" r:id="rId229"/>
    <p:sldLayoutId id="2147488522" r:id="rId230"/>
    <p:sldLayoutId id="2147488523" r:id="rId231"/>
    <p:sldLayoutId id="2147488524" r:id="rId232"/>
    <p:sldLayoutId id="2147488525" r:id="rId233"/>
    <p:sldLayoutId id="2147488526" r:id="rId234"/>
    <p:sldLayoutId id="2147488527" r:id="rId235"/>
    <p:sldLayoutId id="2147488528" r:id="rId236"/>
    <p:sldLayoutId id="2147488529" r:id="rId237"/>
    <p:sldLayoutId id="2147488530" r:id="rId238"/>
    <p:sldLayoutId id="2147488531" r:id="rId239"/>
    <p:sldLayoutId id="2147488532" r:id="rId240"/>
    <p:sldLayoutId id="2147488533" r:id="rId241"/>
    <p:sldLayoutId id="2147488534" r:id="rId242"/>
    <p:sldLayoutId id="2147488535" r:id="rId243"/>
    <p:sldLayoutId id="2147488536" r:id="rId244"/>
    <p:sldLayoutId id="2147488537" r:id="rId245"/>
    <p:sldLayoutId id="2147488538" r:id="rId246"/>
    <p:sldLayoutId id="2147488539" r:id="rId247"/>
    <p:sldLayoutId id="2147488540" r:id="rId248"/>
    <p:sldLayoutId id="2147488541" r:id="rId249"/>
    <p:sldLayoutId id="2147488542" r:id="rId250"/>
    <p:sldLayoutId id="2147488543" r:id="rId251"/>
    <p:sldLayoutId id="2147488544" r:id="rId252"/>
    <p:sldLayoutId id="2147488545" r:id="rId253"/>
    <p:sldLayoutId id="2147488546" r:id="rId254"/>
    <p:sldLayoutId id="2147488547" r:id="rId255"/>
    <p:sldLayoutId id="2147488548" r:id="rId256"/>
    <p:sldLayoutId id="2147488549" r:id="rId257"/>
    <p:sldLayoutId id="2147488550" r:id="rId258"/>
    <p:sldLayoutId id="2147488551" r:id="rId259"/>
    <p:sldLayoutId id="2147488552" r:id="rId260"/>
    <p:sldLayoutId id="2147488553" r:id="rId261"/>
    <p:sldLayoutId id="2147488554" r:id="rId262"/>
    <p:sldLayoutId id="2147488555" r:id="rId263"/>
    <p:sldLayoutId id="2147488556" r:id="rId264"/>
    <p:sldLayoutId id="2147488557" r:id="rId265"/>
    <p:sldLayoutId id="2147488558" r:id="rId266"/>
    <p:sldLayoutId id="2147488559" r:id="rId267"/>
    <p:sldLayoutId id="2147488560" r:id="rId268"/>
    <p:sldLayoutId id="2147488561" r:id="rId269"/>
    <p:sldLayoutId id="2147488562" r:id="rId270"/>
    <p:sldLayoutId id="2147488563" r:id="rId271"/>
    <p:sldLayoutId id="2147488564" r:id="rId272"/>
    <p:sldLayoutId id="2147488565" r:id="rId273"/>
    <p:sldLayoutId id="2147488566" r:id="rId274"/>
    <p:sldLayoutId id="2147488567" r:id="rId275"/>
    <p:sldLayoutId id="2147488568" r:id="rId276"/>
    <p:sldLayoutId id="2147488569" r:id="rId277"/>
    <p:sldLayoutId id="2147488570" r:id="rId278"/>
    <p:sldLayoutId id="2147488571" r:id="rId279"/>
    <p:sldLayoutId id="2147488572" r:id="rId280"/>
    <p:sldLayoutId id="2147488573" r:id="rId281"/>
    <p:sldLayoutId id="2147488574" r:id="rId282"/>
    <p:sldLayoutId id="2147488575" r:id="rId283"/>
    <p:sldLayoutId id="2147488576" r:id="rId284"/>
    <p:sldLayoutId id="2147488577" r:id="rId285"/>
    <p:sldLayoutId id="2147488578" r:id="rId286"/>
    <p:sldLayoutId id="2147488579" r:id="rId287"/>
    <p:sldLayoutId id="2147488580" r:id="rId288"/>
    <p:sldLayoutId id="2147488581" r:id="rId289"/>
    <p:sldLayoutId id="2147488582" r:id="rId290"/>
    <p:sldLayoutId id="2147488583" r:id="rId291"/>
    <p:sldLayoutId id="2147488584" r:id="rId292"/>
    <p:sldLayoutId id="2147488585" r:id="rId293"/>
    <p:sldLayoutId id="2147488586" r:id="rId294"/>
    <p:sldLayoutId id="2147488587" r:id="rId295"/>
    <p:sldLayoutId id="2147488588" r:id="rId296"/>
    <p:sldLayoutId id="2147488589" r:id="rId297"/>
    <p:sldLayoutId id="2147488590" r:id="rId298"/>
    <p:sldLayoutId id="2147488591" r:id="rId299"/>
    <p:sldLayoutId id="2147488592" r:id="rId300"/>
    <p:sldLayoutId id="2147488593" r:id="rId301"/>
    <p:sldLayoutId id="2147488594" r:id="rId302"/>
    <p:sldLayoutId id="2147488595" r:id="rId303"/>
    <p:sldLayoutId id="2147488596" r:id="rId304"/>
    <p:sldLayoutId id="2147488597" r:id="rId305"/>
    <p:sldLayoutId id="2147488598" r:id="rId306"/>
    <p:sldLayoutId id="2147488599" r:id="rId307"/>
    <p:sldLayoutId id="2147488600" r:id="rId308"/>
    <p:sldLayoutId id="2147488601" r:id="rId309"/>
    <p:sldLayoutId id="2147488602" r:id="rId310"/>
    <p:sldLayoutId id="2147488603" r:id="rId311"/>
    <p:sldLayoutId id="2147488604" r:id="rId312"/>
    <p:sldLayoutId id="2147488605" r:id="rId313"/>
    <p:sldLayoutId id="2147488606" r:id="rId314"/>
    <p:sldLayoutId id="2147488607" r:id="rId315"/>
    <p:sldLayoutId id="2147488608" r:id="rId316"/>
    <p:sldLayoutId id="2147488609" r:id="rId317"/>
    <p:sldLayoutId id="2147488610" r:id="rId318"/>
    <p:sldLayoutId id="2147488611" r:id="rId319"/>
    <p:sldLayoutId id="2147488612" r:id="rId320"/>
    <p:sldLayoutId id="2147488613" r:id="rId321"/>
    <p:sldLayoutId id="2147488614" r:id="rId322"/>
    <p:sldLayoutId id="2147488615" r:id="rId323"/>
    <p:sldLayoutId id="2147488616" r:id="rId324"/>
    <p:sldLayoutId id="2147488617" r:id="rId325"/>
    <p:sldLayoutId id="2147488618" r:id="rId326"/>
    <p:sldLayoutId id="2147488619" r:id="rId327"/>
    <p:sldLayoutId id="2147488620" r:id="rId328"/>
    <p:sldLayoutId id="2147488621" r:id="rId329"/>
    <p:sldLayoutId id="2147488622" r:id="rId330"/>
    <p:sldLayoutId id="2147488623" r:id="rId331"/>
    <p:sldLayoutId id="2147488624" r:id="rId332"/>
    <p:sldLayoutId id="2147488625" r:id="rId333"/>
    <p:sldLayoutId id="2147488626" r:id="rId334"/>
    <p:sldLayoutId id="2147488627" r:id="rId335"/>
    <p:sldLayoutId id="2147488628" r:id="rId336"/>
    <p:sldLayoutId id="2147488629" r:id="rId337"/>
    <p:sldLayoutId id="2147488630" r:id="rId338"/>
    <p:sldLayoutId id="2147488631" r:id="rId339"/>
    <p:sldLayoutId id="2147488632" r:id="rId340"/>
    <p:sldLayoutId id="2147488633" r:id="rId341"/>
    <p:sldLayoutId id="2147488634" r:id="rId342"/>
    <p:sldLayoutId id="2147488635" r:id="rId343"/>
    <p:sldLayoutId id="2147488636" r:id="rId344"/>
    <p:sldLayoutId id="2147488637" r:id="rId345"/>
    <p:sldLayoutId id="2147488638" r:id="rId346"/>
    <p:sldLayoutId id="2147488639" r:id="rId347"/>
    <p:sldLayoutId id="2147488640" r:id="rId348"/>
    <p:sldLayoutId id="2147488641" r:id="rId349"/>
    <p:sldLayoutId id="2147488642" r:id="rId350"/>
    <p:sldLayoutId id="2147488643" r:id="rId351"/>
    <p:sldLayoutId id="2147488644" r:id="rId352"/>
    <p:sldLayoutId id="2147488645" r:id="rId353"/>
    <p:sldLayoutId id="2147488646" r:id="rId354"/>
    <p:sldLayoutId id="2147488647" r:id="rId355"/>
    <p:sldLayoutId id="2147488648" r:id="rId356"/>
    <p:sldLayoutId id="2147488649" r:id="rId357"/>
    <p:sldLayoutId id="2147488650" r:id="rId358"/>
    <p:sldLayoutId id="2147488651" r:id="rId359"/>
    <p:sldLayoutId id="2147488652" r:id="rId360"/>
    <p:sldLayoutId id="2147488653" r:id="rId361"/>
    <p:sldLayoutId id="2147488654" r:id="rId362"/>
    <p:sldLayoutId id="2147488655" r:id="rId363"/>
    <p:sldLayoutId id="2147488656" r:id="rId364"/>
    <p:sldLayoutId id="2147488657" r:id="rId365"/>
    <p:sldLayoutId id="2147488658" r:id="rId366"/>
    <p:sldLayoutId id="2147488659" r:id="rId367"/>
    <p:sldLayoutId id="2147488660" r:id="rId368"/>
    <p:sldLayoutId id="2147488661" r:id="rId369"/>
    <p:sldLayoutId id="2147488662" r:id="rId370"/>
    <p:sldLayoutId id="2147488663" r:id="rId371"/>
    <p:sldLayoutId id="2147488664" r:id="rId372"/>
    <p:sldLayoutId id="2147488665" r:id="rId373"/>
    <p:sldLayoutId id="2147488666" r:id="rId374"/>
    <p:sldLayoutId id="2147488667" r:id="rId375"/>
    <p:sldLayoutId id="2147488668" r:id="rId376"/>
    <p:sldLayoutId id="2147488669" r:id="rId377"/>
    <p:sldLayoutId id="2147488670" r:id="rId378"/>
    <p:sldLayoutId id="2147488671" r:id="rId379"/>
    <p:sldLayoutId id="2147488672" r:id="rId380"/>
    <p:sldLayoutId id="2147488673" r:id="rId381"/>
    <p:sldLayoutId id="2147488674" r:id="rId382"/>
    <p:sldLayoutId id="2147488675" r:id="rId383"/>
    <p:sldLayoutId id="2147488676" r:id="rId384"/>
    <p:sldLayoutId id="2147488677" r:id="rId385"/>
    <p:sldLayoutId id="2147488678" r:id="rId386"/>
    <p:sldLayoutId id="2147488679" r:id="rId387"/>
    <p:sldLayoutId id="2147488680" r:id="rId388"/>
    <p:sldLayoutId id="2147488681" r:id="rId389"/>
    <p:sldLayoutId id="2147488682" r:id="rId390"/>
    <p:sldLayoutId id="2147488683" r:id="rId391"/>
    <p:sldLayoutId id="2147488684" r:id="rId392"/>
    <p:sldLayoutId id="2147488685" r:id="rId393"/>
    <p:sldLayoutId id="2147488686" r:id="rId394"/>
    <p:sldLayoutId id="2147488687" r:id="rId395"/>
    <p:sldLayoutId id="2147488688" r:id="rId396"/>
    <p:sldLayoutId id="2147488689" r:id="rId397"/>
    <p:sldLayoutId id="2147488690" r:id="rId398"/>
    <p:sldLayoutId id="2147488691" r:id="rId399"/>
    <p:sldLayoutId id="2147488692" r:id="rId400"/>
    <p:sldLayoutId id="2147488693" r:id="rId401"/>
    <p:sldLayoutId id="2147488694" r:id="rId402"/>
    <p:sldLayoutId id="2147488695" r:id="rId403"/>
    <p:sldLayoutId id="2147488696" r:id="rId404"/>
    <p:sldLayoutId id="2147488697" r:id="rId405"/>
    <p:sldLayoutId id="2147488698" r:id="rId406"/>
    <p:sldLayoutId id="2147488699" r:id="rId407"/>
    <p:sldLayoutId id="2147488700" r:id="rId408"/>
    <p:sldLayoutId id="2147488701" r:id="rId409"/>
    <p:sldLayoutId id="2147488702" r:id="rId410"/>
    <p:sldLayoutId id="2147488703" r:id="rId411"/>
    <p:sldLayoutId id="2147488704" r:id="rId412"/>
    <p:sldLayoutId id="2147488705" r:id="rId413"/>
    <p:sldLayoutId id="2147488706" r:id="rId414"/>
    <p:sldLayoutId id="2147488707" r:id="rId415"/>
    <p:sldLayoutId id="2147488708" r:id="rId416"/>
    <p:sldLayoutId id="2147488709" r:id="rId417"/>
    <p:sldLayoutId id="2147488710" r:id="rId418"/>
    <p:sldLayoutId id="2147488711" r:id="rId419"/>
    <p:sldLayoutId id="2147488712" r:id="rId420"/>
    <p:sldLayoutId id="2147488713" r:id="rId421"/>
    <p:sldLayoutId id="2147488714" r:id="rId422"/>
    <p:sldLayoutId id="2147488715" r:id="rId423"/>
    <p:sldLayoutId id="2147488716" r:id="rId424"/>
    <p:sldLayoutId id="2147488717" r:id="rId425"/>
    <p:sldLayoutId id="2147488718" r:id="rId426"/>
    <p:sldLayoutId id="2147488719" r:id="rId427"/>
    <p:sldLayoutId id="2147488720" r:id="rId428"/>
    <p:sldLayoutId id="2147488721" r:id="rId429"/>
    <p:sldLayoutId id="2147488722" r:id="rId430"/>
    <p:sldLayoutId id="2147488723" r:id="rId431"/>
    <p:sldLayoutId id="2147488724" r:id="rId432"/>
    <p:sldLayoutId id="2147488725" r:id="rId433"/>
    <p:sldLayoutId id="2147488726" r:id="rId434"/>
    <p:sldLayoutId id="2147488727" r:id="rId435"/>
    <p:sldLayoutId id="2147488728" r:id="rId436"/>
    <p:sldLayoutId id="2147488729" r:id="rId437"/>
    <p:sldLayoutId id="2147488730" r:id="rId438"/>
    <p:sldLayoutId id="2147488731" r:id="rId439"/>
    <p:sldLayoutId id="2147488732" r:id="rId440"/>
    <p:sldLayoutId id="2147488733" r:id="rId441"/>
    <p:sldLayoutId id="2147488734" r:id="rId442"/>
    <p:sldLayoutId id="2147488735" r:id="rId443"/>
    <p:sldLayoutId id="2147488736" r:id="rId444"/>
    <p:sldLayoutId id="2147488737" r:id="rId445"/>
    <p:sldLayoutId id="2147488738" r:id="rId446"/>
    <p:sldLayoutId id="2147488739" r:id="rId447"/>
    <p:sldLayoutId id="2147488740" r:id="rId448"/>
    <p:sldLayoutId id="2147488741" r:id="rId449"/>
    <p:sldLayoutId id="2147488742" r:id="rId450"/>
    <p:sldLayoutId id="2147488743" r:id="rId451"/>
    <p:sldLayoutId id="2147488744" r:id="rId452"/>
    <p:sldLayoutId id="2147488745" r:id="rId453"/>
    <p:sldLayoutId id="2147488746" r:id="rId454"/>
    <p:sldLayoutId id="2147488747" r:id="rId455"/>
    <p:sldLayoutId id="2147488748" r:id="rId45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74247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50" r:id="rId1"/>
    <p:sldLayoutId id="2147488751" r:id="rId2"/>
    <p:sldLayoutId id="2147488752" r:id="rId3"/>
    <p:sldLayoutId id="2147488753" r:id="rId4"/>
    <p:sldLayoutId id="2147488754" r:id="rId5"/>
    <p:sldLayoutId id="2147488755" r:id="rId6"/>
    <p:sldLayoutId id="2147488756" r:id="rId7"/>
    <p:sldLayoutId id="2147488757" r:id="rId8"/>
    <p:sldLayoutId id="2147488758" r:id="rId9"/>
    <p:sldLayoutId id="2147488759" r:id="rId10"/>
    <p:sldLayoutId id="2147488760" r:id="rId1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3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sv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01.svg"/><Relationship Id="rId5" Type="http://schemas.openxmlformats.org/officeDocument/2006/relationships/image" Target="../media/image100.png"/><Relationship Id="rId4" Type="http://schemas.openxmlformats.org/officeDocument/2006/relationships/image" Target="../media/image99.svg"/><Relationship Id="rId9" Type="http://schemas.openxmlformats.org/officeDocument/2006/relationships/image" Target="../media/image10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sv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01.svg"/><Relationship Id="rId5" Type="http://schemas.openxmlformats.org/officeDocument/2006/relationships/image" Target="../media/image100.png"/><Relationship Id="rId4" Type="http://schemas.openxmlformats.org/officeDocument/2006/relationships/image" Target="../media/image99.svg"/><Relationship Id="rId9" Type="http://schemas.openxmlformats.org/officeDocument/2006/relationships/image" Target="../media/image10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sv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474.xml"/><Relationship Id="rId6" Type="http://schemas.openxmlformats.org/officeDocument/2006/relationships/image" Target="../media/image103.svg"/><Relationship Id="rId5" Type="http://schemas.openxmlformats.org/officeDocument/2006/relationships/image" Target="../media/image102.png"/><Relationship Id="rId4" Type="http://schemas.openxmlformats.org/officeDocument/2006/relationships/image" Target="../media/image10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sv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474.xml"/><Relationship Id="rId6" Type="http://schemas.openxmlformats.org/officeDocument/2006/relationships/image" Target="../media/image103.svg"/><Relationship Id="rId5" Type="http://schemas.openxmlformats.org/officeDocument/2006/relationships/image" Target="../media/image102.png"/><Relationship Id="rId4" Type="http://schemas.openxmlformats.org/officeDocument/2006/relationships/image" Target="../media/image10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image" Target="../media/image102.png"/><Relationship Id="rId7" Type="http://schemas.openxmlformats.org/officeDocument/2006/relationships/image" Target="../media/image1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4.xml"/><Relationship Id="rId6" Type="http://schemas.openxmlformats.org/officeDocument/2006/relationships/image" Target="../media/image111.png"/><Relationship Id="rId5" Type="http://schemas.openxmlformats.org/officeDocument/2006/relationships/image" Target="../media/image110.png"/><Relationship Id="rId4" Type="http://schemas.openxmlformats.org/officeDocument/2006/relationships/image" Target="../media/image109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sv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474.xml"/><Relationship Id="rId4" Type="http://schemas.openxmlformats.org/officeDocument/2006/relationships/image" Target="../media/image1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sv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474.xml"/><Relationship Id="rId6" Type="http://schemas.openxmlformats.org/officeDocument/2006/relationships/image" Target="../media/image99.svg"/><Relationship Id="rId5" Type="http://schemas.openxmlformats.org/officeDocument/2006/relationships/image" Target="../media/image98.png"/><Relationship Id="rId4" Type="http://schemas.openxmlformats.org/officeDocument/2006/relationships/image" Target="../media/image11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7" Type="http://schemas.openxmlformats.org/officeDocument/2006/relationships/image" Target="../media/image1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74.xml"/><Relationship Id="rId6" Type="http://schemas.openxmlformats.org/officeDocument/2006/relationships/image" Target="../media/image116.png"/><Relationship Id="rId5" Type="http://schemas.openxmlformats.org/officeDocument/2006/relationships/image" Target="../media/image104.png"/><Relationship Id="rId4" Type="http://schemas.openxmlformats.org/officeDocument/2006/relationships/image" Target="../media/image99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98.png"/><Relationship Id="rId7" Type="http://schemas.openxmlformats.org/officeDocument/2006/relationships/image" Target="../media/image1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74.xml"/><Relationship Id="rId6" Type="http://schemas.openxmlformats.org/officeDocument/2006/relationships/image" Target="../media/image118.png"/><Relationship Id="rId5" Type="http://schemas.openxmlformats.org/officeDocument/2006/relationships/image" Target="../media/image104.png"/><Relationship Id="rId4" Type="http://schemas.openxmlformats.org/officeDocument/2006/relationships/image" Target="../media/image99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7" Type="http://schemas.openxmlformats.org/officeDocument/2006/relationships/image" Target="../media/image101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74.xml"/><Relationship Id="rId6" Type="http://schemas.openxmlformats.org/officeDocument/2006/relationships/image" Target="../media/image100.png"/><Relationship Id="rId5" Type="http://schemas.openxmlformats.org/officeDocument/2006/relationships/image" Target="../media/image121.png"/><Relationship Id="rId4" Type="http://schemas.openxmlformats.org/officeDocument/2006/relationships/image" Target="../media/image106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7" Type="http://schemas.openxmlformats.org/officeDocument/2006/relationships/image" Target="../media/image101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74.xml"/><Relationship Id="rId6" Type="http://schemas.openxmlformats.org/officeDocument/2006/relationships/image" Target="../media/image100.png"/><Relationship Id="rId5" Type="http://schemas.openxmlformats.org/officeDocument/2006/relationships/image" Target="../media/image122.png"/><Relationship Id="rId4" Type="http://schemas.openxmlformats.org/officeDocument/2006/relationships/image" Target="../media/image106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44.xml"/><Relationship Id="rId4" Type="http://schemas.openxmlformats.org/officeDocument/2006/relationships/image" Target="../media/image12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44.xml"/><Relationship Id="rId4" Type="http://schemas.openxmlformats.org/officeDocument/2006/relationships/image" Target="../media/image125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hyperlink" Target="https://northwestern.zoom.us/meeting/register/itt47ArfRrqm-OzCzQO0eg" TargetMode="External"/><Relationship Id="rId1" Type="http://schemas.openxmlformats.org/officeDocument/2006/relationships/slideLayout" Target="../slideLayouts/slideLayout474.xml"/><Relationship Id="rId5" Type="http://schemas.openxmlformats.org/officeDocument/2006/relationships/image" Target="../media/image128.png"/><Relationship Id="rId4" Type="http://schemas.openxmlformats.org/officeDocument/2006/relationships/image" Target="../media/image127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9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5.xml"/><Relationship Id="rId4" Type="http://schemas.openxmlformats.org/officeDocument/2006/relationships/image" Target="../media/image7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465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92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4.x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0" Type="http://schemas.openxmlformats.org/officeDocument/2006/relationships/image" Target="../media/image89.png"/><Relationship Id="rId4" Type="http://schemas.openxmlformats.org/officeDocument/2006/relationships/image" Target="../media/image83.png"/><Relationship Id="rId9" Type="http://schemas.openxmlformats.org/officeDocument/2006/relationships/image" Target="../media/image88.png"/><Relationship Id="rId14" Type="http://schemas.openxmlformats.org/officeDocument/2006/relationships/image" Target="../media/image9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854" y="2438801"/>
            <a:ext cx="6775470" cy="1690140"/>
          </a:xfrm>
        </p:spPr>
        <p:txBody>
          <a:bodyPr/>
          <a:lstStyle/>
          <a:p>
            <a:pPr lvl="1" algn="ctr"/>
            <a:r>
              <a:rPr lang="en-US" sz="3500" b="1" dirty="0">
                <a:solidFill>
                  <a:schemeClr val="accent1"/>
                </a:solidFill>
                <a:latin typeface="DM Sans" pitchFamily="2" charset="77"/>
                <a:ea typeface="+mj-lt"/>
                <a:cs typeface="+mj-lt"/>
              </a:rPr>
              <a:t>Equity and Safe Sleep for Infants</a:t>
            </a:r>
            <a:br>
              <a:rPr lang="en-US" sz="3500" b="1" dirty="0">
                <a:solidFill>
                  <a:schemeClr val="accent1"/>
                </a:solidFill>
                <a:latin typeface="DM Sans" pitchFamily="2" charset="77"/>
                <a:ea typeface="+mj-lt"/>
                <a:cs typeface="+mj-lt"/>
              </a:rPr>
            </a:br>
            <a:r>
              <a:rPr lang="en-US" sz="2400" i="1" dirty="0">
                <a:solidFill>
                  <a:schemeClr val="accent1"/>
                </a:solidFill>
                <a:effectLst/>
                <a:latin typeface="DM Sans" pitchFamily="2" charset="77"/>
                <a:ea typeface="Avenir Next LT Pro" panose="020B0504020202020204" pitchFamily="34" charset="77"/>
                <a:cs typeface="Calibri" panose="020F0502020204030204" pitchFamily="34" charset="0"/>
              </a:rPr>
              <a:t>ESSI Bundle and Pulling it All Together</a:t>
            </a:r>
            <a:endParaRPr lang="en-US" sz="3600" b="0" i="1" dirty="0">
              <a:solidFill>
                <a:schemeClr val="accent1"/>
              </a:solidFill>
              <a:latin typeface="DM Sans" pitchFamily="2" charset="77"/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1046" y="1953892"/>
            <a:ext cx="4063775" cy="265995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60519" y="4128941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DM Sans" pitchFamily="2" charset="77"/>
                <a:ea typeface="+mn-lt"/>
                <a:cs typeface="+mn-lt"/>
              </a:rPr>
              <a:t>April 21st, 2025, 2:00 PM </a:t>
            </a:r>
            <a:endParaRPr lang="en-US" dirty="0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0537C-9014-7311-A44E-AD6090EE37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3E0C4BC8-872F-23E9-115D-801FF90785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341" y="0"/>
            <a:ext cx="11885659" cy="1720273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en-US" altLang="en-US" sz="4000" dirty="0">
                <a:latin typeface="DM Sans" pitchFamily="2" charset="77"/>
                <a:cs typeface="Lato Medium"/>
              </a:rPr>
              <a:t>Did you finish your resource guide?</a:t>
            </a:r>
            <a:endParaRPr lang="en-US" altLang="en-US" sz="4000" dirty="0">
              <a:latin typeface="DM Sans" pitchFamily="2" charset="7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A01670-D531-8F37-C3B6-EFFE20D55756}"/>
              </a:ext>
            </a:extLst>
          </p:cNvPr>
          <p:cNvSpPr txBox="1"/>
          <p:nvPr/>
        </p:nvSpPr>
        <p:spPr>
          <a:xfrm>
            <a:off x="555723" y="1120346"/>
            <a:ext cx="10885311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cs typeface="Calibri" panose="020F0502020204030204" pitchFamily="34" charset="0"/>
              </a:rPr>
              <a:t>Bring one resource to Face-to-Face!</a:t>
            </a:r>
          </a:p>
        </p:txBody>
      </p:sp>
      <p:pic>
        <p:nvPicPr>
          <p:cNvPr id="3" name="Picture 2" descr="A black and white document with black text&#10;&#10;AI-generated content may be incorrect.">
            <a:extLst>
              <a:ext uri="{FF2B5EF4-FFF2-40B4-BE49-F238E27FC236}">
                <a16:creationId xmlns:a16="http://schemas.microsoft.com/office/drawing/2014/main" id="{D3529802-8368-5284-3335-3DE0031BD4F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9682" y="2729456"/>
            <a:ext cx="5114541" cy="3964099"/>
          </a:xfrm>
          <a:prstGeom prst="rect">
            <a:avLst/>
          </a:prstGeom>
          <a:ln w="28575">
            <a:solidFill>
              <a:schemeClr val="accent2"/>
            </a:solidFill>
          </a:ln>
        </p:spPr>
      </p:pic>
      <p:pic>
        <p:nvPicPr>
          <p:cNvPr id="5" name="Picture 4" descr="A white card with black text&#10;&#10;AI-generated content may be incorrect.">
            <a:extLst>
              <a:ext uri="{FF2B5EF4-FFF2-40B4-BE49-F238E27FC236}">
                <a16:creationId xmlns:a16="http://schemas.microsoft.com/office/drawing/2014/main" id="{A169C764-AFAC-B4FE-54EF-A8DAE5349A1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88608" y="1810413"/>
            <a:ext cx="4419632" cy="2324706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7" name="Picture 6" descr="A stack of colorful binders&#10;&#10;AI-generated content may be incorrect.">
            <a:extLst>
              <a:ext uri="{FF2B5EF4-FFF2-40B4-BE49-F238E27FC236}">
                <a16:creationId xmlns:a16="http://schemas.microsoft.com/office/drawing/2014/main" id="{63ACDB6D-BB76-7C79-688D-038C867B9A1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7432" y="141941"/>
            <a:ext cx="2125376" cy="212537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A540BAF-A788-5BA9-A291-003151624C15}"/>
              </a:ext>
            </a:extLst>
          </p:cNvPr>
          <p:cNvSpPr txBox="1"/>
          <p:nvPr/>
        </p:nvSpPr>
        <p:spPr>
          <a:xfrm>
            <a:off x="306341" y="1955298"/>
            <a:ext cx="5114540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q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 Is the phone number correct?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q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 Are there limitations / restrictions around accessing resources?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q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 Have you spoken to a representative of this organization?</a:t>
            </a:r>
          </a:p>
        </p:txBody>
      </p:sp>
      <p:pic>
        <p:nvPicPr>
          <p:cNvPr id="8" name="Picture 7" descr="A black paper clip with silver handles&#10;&#10;AI-generated content may be incorrect.">
            <a:extLst>
              <a:ext uri="{FF2B5EF4-FFF2-40B4-BE49-F238E27FC236}">
                <a16:creationId xmlns:a16="http://schemas.microsoft.com/office/drawing/2014/main" id="{0EBB6FCB-D5AD-3669-B9A2-4A789B75ECA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58032" y="4821198"/>
            <a:ext cx="1242645" cy="124264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27AC717-0174-BF3D-AADB-831451C12436}"/>
              </a:ext>
            </a:extLst>
          </p:cNvPr>
          <p:cNvSpPr txBox="1">
            <a:spLocks/>
          </p:cNvSpPr>
          <p:nvPr/>
        </p:nvSpPr>
        <p:spPr>
          <a:xfrm>
            <a:off x="1772438" y="5750257"/>
            <a:ext cx="4476732" cy="62717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1" i="1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Needed for Breakout Session!</a:t>
            </a:r>
            <a:endParaRPr kumimoji="0" lang="en-US" altLang="en-US" sz="2500" b="1" i="1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Calibri" panose="020F0502020204030204"/>
              <a:cs typeface="Lato Medium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6856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13F6DC-5F68-8C76-3268-470E3F4A34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0431AA-5BB9-3A5A-EAE4-0D5976D43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403" y="1410586"/>
            <a:ext cx="10393193" cy="2014679"/>
          </a:xfrm>
        </p:spPr>
        <p:txBody>
          <a:bodyPr/>
          <a:lstStyle/>
          <a:p>
            <a:r>
              <a:rPr lang="en-US" dirty="0">
                <a:latin typeface="DM Sans" pitchFamily="2" charset="77"/>
                <a:ea typeface="Lato Medium"/>
                <a:cs typeface="Lato Medium"/>
              </a:rPr>
              <a:t>ESSI Initiative Aims, Bundle and Data Progress</a:t>
            </a:r>
            <a:endParaRPr lang="en-US" dirty="0">
              <a:latin typeface="DM Sans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0AEDAB-5FDE-9BD1-6B5B-95164CE5359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DAB925-DCA6-0911-C6E6-43C2829FBBF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89331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>
                <a:latin typeface="DM Sans" pitchFamily="2" charset="77"/>
              </a:rPr>
              <a:pPr/>
              <a:t>12</a:t>
            </a:fld>
            <a:endParaRPr lang="en-US">
              <a:latin typeface="DM Sa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latin typeface="DM Sans" pitchFamily="2" charset="77"/>
              </a:rPr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latin typeface="DM Sans" pitchFamily="2" charset="77"/>
                <a:ea typeface="Lato Medium"/>
                <a:cs typeface="Lato Medium"/>
              </a:rPr>
              <a:t>ESSI Initiative Aims</a:t>
            </a:r>
            <a:endParaRPr lang="en-US" sz="4800">
              <a:latin typeface="DM Sans" pitchFamily="2" charset="77"/>
            </a:endParaRPr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>
                <a:latin typeface="DM Sans" pitchFamily="2" charset="77"/>
              </a:endParaRPr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>
                <a:latin typeface="DM Sans" pitchFamily="2" charset="77"/>
              </a:endParaRPr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>
                <a:latin typeface="DM Sans" pitchFamily="2" charset="77"/>
              </a:endParaRPr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>
                <a:latin typeface="DM Sans" pitchFamily="2" charset="77"/>
              </a:endParaRPr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>
                <a:latin typeface="DM Sans" pitchFamily="2" charset="77"/>
              </a:endParaRPr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>
                <a:latin typeface="DM Sans" pitchFamily="2" charset="77"/>
              </a:endParaRPr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 pitchFamily="2" charset="77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 pitchFamily="2" charset="77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 dirty="0">
                <a:solidFill>
                  <a:srgbClr val="FFFFFF"/>
                </a:solidFill>
                <a:latin typeface="DM Sans" pitchFamily="2" charset="77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22963"/>
            <a:ext cx="2028316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DM Sans" pitchFamily="2" charset="77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86027" y="5385726"/>
            <a:ext cx="3150228" cy="55364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62784"/>
            <a:ext cx="3206735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DM Sans" pitchFamily="2" charset="77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518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DM Sans" pitchFamily="2" charset="77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DM Sans" pitchFamily="2" charset="77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 pitchFamily="2" charset="77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  <a:latin typeface="DM Sans" pitchFamily="2" charset="77"/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661147"/>
            <a:ext cx="7457964" cy="292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 pitchFamily="2" charset="77"/>
                <a:ea typeface="Calibri"/>
                <a:cs typeface="Calibri"/>
              </a:rPr>
              <a:t>Communication to primary care provider completed.</a:t>
            </a:r>
            <a:endParaRPr lang="en-US" sz="2200">
              <a:latin typeface="DM Sans" pitchFamily="2" charset="77"/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>
                <a:latin typeface="DM Sans" pitchFamily="2" charset="77"/>
              </a:endParaRPr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>
                <a:latin typeface="DM Sans" pitchFamily="2" charset="77"/>
              </a:endParaRPr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518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DM Sans" pitchFamily="2" charset="77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0CB9BB-D190-1756-416A-C7FB07F1AE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A3682F7-3C6A-9CED-7404-B478E889BF79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5B0CD2-5C35-8D45-E563-0AFF5C3F5A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>
                <a:latin typeface="DM Sans" pitchFamily="2" charset="77"/>
              </a:rPr>
              <a:pPr/>
              <a:t>13</a:t>
            </a:fld>
            <a:endParaRPr lang="en-US">
              <a:latin typeface="DM Sa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EF8DD-A21C-D530-A07E-6ECF792D3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latin typeface="DM Sans" pitchFamily="2" charset="77"/>
              </a:rPr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C2F1DE-9FBB-1771-34AA-AFC3A694A81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4099" y="103511"/>
            <a:ext cx="9531829" cy="1334873"/>
          </a:xfrm>
        </p:spPr>
        <p:txBody>
          <a:bodyPr/>
          <a:lstStyle/>
          <a:p>
            <a:r>
              <a:rPr lang="en-US" sz="4800" dirty="0">
                <a:latin typeface="DM Sans" pitchFamily="2" charset="77"/>
                <a:ea typeface="Lato Medium"/>
                <a:cs typeface="Lato Medium"/>
              </a:rPr>
              <a:t>What is the ESSI Bundle?</a:t>
            </a:r>
            <a:endParaRPr lang="en-US" sz="4800" dirty="0">
              <a:latin typeface="DM Sans" pitchFamily="2" charset="77"/>
            </a:endParaRPr>
          </a:p>
        </p:txBody>
      </p:sp>
      <p:sp>
        <p:nvSpPr>
          <p:cNvPr id="26" name="TextBox 15">
            <a:extLst>
              <a:ext uri="{FF2B5EF4-FFF2-40B4-BE49-F238E27FC236}">
                <a16:creationId xmlns:a16="http://schemas.microsoft.com/office/drawing/2014/main" id="{F7C5EB89-934A-9D55-A763-3B18348EFC40}"/>
              </a:ext>
            </a:extLst>
          </p:cNvPr>
          <p:cNvSpPr txBox="1"/>
          <p:nvPr/>
        </p:nvSpPr>
        <p:spPr>
          <a:xfrm>
            <a:off x="992051" y="1158360"/>
            <a:ext cx="10796527" cy="6537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 dirty="0">
                <a:solidFill>
                  <a:srgbClr val="FFFFFF"/>
                </a:solidFill>
                <a:latin typeface="DM Sans" pitchFamily="2" charset="77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9841C70B-052B-81E3-036D-00861BCE0C09}"/>
              </a:ext>
            </a:extLst>
          </p:cNvPr>
          <p:cNvSpPr/>
          <p:nvPr/>
        </p:nvSpPr>
        <p:spPr>
          <a:xfrm>
            <a:off x="452662" y="2471641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0F600E7C-A8AB-A608-5854-7A7CB1A773C8}"/>
              </a:ext>
            </a:extLst>
          </p:cNvPr>
          <p:cNvSpPr txBox="1"/>
          <p:nvPr/>
        </p:nvSpPr>
        <p:spPr>
          <a:xfrm>
            <a:off x="953980" y="2675668"/>
            <a:ext cx="2028316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dirty="0">
                <a:solidFill>
                  <a:srgbClr val="FFFFFF"/>
                </a:solidFill>
                <a:latin typeface="DM Sans" pitchFamily="2" charset="77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6CCD86C2-DE6D-D760-0E54-5D712463D8BE}"/>
              </a:ext>
            </a:extLst>
          </p:cNvPr>
          <p:cNvSpPr/>
          <p:nvPr/>
        </p:nvSpPr>
        <p:spPr>
          <a:xfrm>
            <a:off x="452663" y="3238431"/>
            <a:ext cx="3150228" cy="55364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F170A77D-B4C1-17C7-3522-BF57A65DBEB0}"/>
              </a:ext>
            </a:extLst>
          </p:cNvPr>
          <p:cNvSpPr txBox="1"/>
          <p:nvPr/>
        </p:nvSpPr>
        <p:spPr>
          <a:xfrm>
            <a:off x="403422" y="3415489"/>
            <a:ext cx="3206735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DM Sans" pitchFamily="2" charset="77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577BA9CC-716F-293A-DD09-E012557F0F1F}"/>
              </a:ext>
            </a:extLst>
          </p:cNvPr>
          <p:cNvSpPr/>
          <p:nvPr/>
        </p:nvSpPr>
        <p:spPr>
          <a:xfrm>
            <a:off x="454863" y="1672095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4FCD0F87-0C7E-8FF5-E762-82B121732F4A}"/>
              </a:ext>
            </a:extLst>
          </p:cNvPr>
          <p:cNvSpPr txBox="1"/>
          <p:nvPr/>
        </p:nvSpPr>
        <p:spPr>
          <a:xfrm>
            <a:off x="298855" y="947398"/>
            <a:ext cx="410448" cy="10518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DM Sans" pitchFamily="2" charset="77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4AB2014-AF48-1A6F-44CA-2E8435C6663C}"/>
              </a:ext>
            </a:extLst>
          </p:cNvPr>
          <p:cNvSpPr txBox="1"/>
          <p:nvPr/>
        </p:nvSpPr>
        <p:spPr>
          <a:xfrm>
            <a:off x="1054688" y="1861190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dirty="0">
                <a:solidFill>
                  <a:srgbClr val="FFFFFF"/>
                </a:solidFill>
                <a:latin typeface="DM Sans" pitchFamily="2" charset="77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A532F7F1-7217-D4F7-4E58-0CB9D907F041}"/>
              </a:ext>
            </a:extLst>
          </p:cNvPr>
          <p:cNvSpPr txBox="1"/>
          <p:nvPr/>
        </p:nvSpPr>
        <p:spPr>
          <a:xfrm>
            <a:off x="3878688" y="1716545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 pitchFamily="2" charset="77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7C142EE8-ACFD-D8F9-26FE-10F7D4C1E722}"/>
              </a:ext>
            </a:extLst>
          </p:cNvPr>
          <p:cNvSpPr txBox="1"/>
          <p:nvPr/>
        </p:nvSpPr>
        <p:spPr>
          <a:xfrm>
            <a:off x="3878322" y="2544065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  <a:latin typeface="DM Sans" pitchFamily="2" charset="77"/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28209209-8304-0579-4F6B-1D099358A53A}"/>
              </a:ext>
            </a:extLst>
          </p:cNvPr>
          <p:cNvSpPr txBox="1"/>
          <p:nvPr/>
        </p:nvSpPr>
        <p:spPr>
          <a:xfrm>
            <a:off x="3881572" y="3513852"/>
            <a:ext cx="7457964" cy="292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 pitchFamily="2" charset="77"/>
                <a:ea typeface="Calibri"/>
                <a:cs typeface="Calibri"/>
              </a:rPr>
              <a:t>Communication to primary care provider completed.</a:t>
            </a:r>
            <a:endParaRPr lang="en-US" sz="2200">
              <a:latin typeface="DM Sans" pitchFamily="2" charset="77"/>
              <a:cs typeface="Calibri"/>
            </a:endParaRP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D71569EC-1BED-7011-2DCB-74B5B4AD05F7}"/>
              </a:ext>
            </a:extLst>
          </p:cNvPr>
          <p:cNvSpPr/>
          <p:nvPr/>
        </p:nvSpPr>
        <p:spPr>
          <a:xfrm>
            <a:off x="10396987" y="115438"/>
            <a:ext cx="1679392" cy="80921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954400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4229ABF-6209-ACD7-9C4E-7DD7A7FE32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>
            <a:extLst>
              <a:ext uri="{FF2B5EF4-FFF2-40B4-BE49-F238E27FC236}">
                <a16:creationId xmlns:a16="http://schemas.microsoft.com/office/drawing/2014/main" id="{059F828F-8E7E-C159-AA1C-C7BDF7263108}"/>
              </a:ext>
            </a:extLst>
          </p:cNvPr>
          <p:cNvSpPr/>
          <p:nvPr/>
        </p:nvSpPr>
        <p:spPr>
          <a:xfrm>
            <a:off x="247417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43F40208-84BB-C39D-334E-77FAB96165CF}"/>
              </a:ext>
            </a:extLst>
          </p:cNvPr>
          <p:cNvSpPr txBox="1"/>
          <p:nvPr/>
        </p:nvSpPr>
        <p:spPr>
          <a:xfrm>
            <a:off x="1662673" y="872367"/>
            <a:ext cx="8506972" cy="313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67" b="1" i="0" u="none" strike="noStrike" kern="1200" cap="none" spc="0" normalizeH="0" baseline="0" noProof="0">
                <a:ln>
                  <a:noFill/>
                </a:ln>
                <a:solidFill>
                  <a:srgbClr val="813158"/>
                </a:solidFill>
                <a:effectLst/>
                <a:uLnTx/>
                <a:uFillTx/>
                <a:latin typeface="DM Sans" pitchFamily="2" charset="77"/>
                <a:ea typeface="Helvetica Now Bold"/>
                <a:cs typeface="Helvetica Now Bold"/>
                <a:sym typeface="Helvetica Now Bold"/>
              </a:rPr>
              <a:t>Parents or caregivers reporting an understanding of safe sleep​</a:t>
            </a: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3FBECC5F-EDA6-404E-B41E-07A8D2643FF3}"/>
              </a:ext>
            </a:extLst>
          </p:cNvPr>
          <p:cNvSpPr txBox="1"/>
          <p:nvPr/>
        </p:nvSpPr>
        <p:spPr>
          <a:xfrm>
            <a:off x="606069" y="1359953"/>
            <a:ext cx="10979861" cy="2632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2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1" u="none" strike="noStrike" kern="1200" cap="none" spc="0" normalizeH="0" baseline="0" noProof="0" dirty="0">
                <a:ln>
                  <a:noFill/>
                </a:ln>
                <a:solidFill>
                  <a:srgbClr val="813158"/>
                </a:solidFill>
                <a:effectLst/>
                <a:uLnTx/>
                <a:uFillTx/>
                <a:latin typeface="DM Sans" pitchFamily="2" charset="77"/>
                <a:ea typeface="Helvetica Now Italics"/>
                <a:cs typeface="Helvetica Now Italics"/>
                <a:sym typeface="Helvetica Now Italics"/>
              </a:rPr>
              <a:t>Percentage of charts audited where a parent or caregiver reports an understanding of safe sleep​</a:t>
            </a:r>
          </a:p>
        </p:txBody>
      </p:sp>
      <p:pic>
        <p:nvPicPr>
          <p:cNvPr id="12" name="Picture 11" descr="A graph with numbers and a line&#10;&#10;AI-generated content may be incorrect.">
            <a:extLst>
              <a:ext uri="{FF2B5EF4-FFF2-40B4-BE49-F238E27FC236}">
                <a16:creationId xmlns:a16="http://schemas.microsoft.com/office/drawing/2014/main" id="{F2F6E683-B926-BCD4-A18A-B975E7D1315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891" y="2739183"/>
            <a:ext cx="10650216" cy="2964222"/>
          </a:xfrm>
          <a:prstGeom prst="rect">
            <a:avLst/>
          </a:prstGeom>
        </p:spPr>
      </p:pic>
      <p:sp>
        <p:nvSpPr>
          <p:cNvPr id="2" name="Freeform 21">
            <a:extLst>
              <a:ext uri="{FF2B5EF4-FFF2-40B4-BE49-F238E27FC236}">
                <a16:creationId xmlns:a16="http://schemas.microsoft.com/office/drawing/2014/main" id="{5AE8D75A-73F3-1966-1343-9B38A966E432}"/>
              </a:ext>
            </a:extLst>
          </p:cNvPr>
          <p:cNvSpPr/>
          <p:nvPr/>
        </p:nvSpPr>
        <p:spPr>
          <a:xfrm>
            <a:off x="898209" y="1774281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6" name="TextBox 24">
            <a:extLst>
              <a:ext uri="{FF2B5EF4-FFF2-40B4-BE49-F238E27FC236}">
                <a16:creationId xmlns:a16="http://schemas.microsoft.com/office/drawing/2014/main" id="{17E12EB1-4564-4246-7E0F-C94FEEFD1CE1}"/>
              </a:ext>
            </a:extLst>
          </p:cNvPr>
          <p:cNvSpPr txBox="1"/>
          <p:nvPr/>
        </p:nvSpPr>
        <p:spPr>
          <a:xfrm>
            <a:off x="1496716" y="1922901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dirty="0">
                <a:solidFill>
                  <a:srgbClr val="FFFFFF"/>
                </a:solidFill>
                <a:latin typeface="DM Sans" pitchFamily="2" charset="77"/>
              </a:rPr>
              <a:t>AWARENESS</a:t>
            </a:r>
          </a:p>
        </p:txBody>
      </p:sp>
    </p:spTree>
    <p:extLst>
      <p:ext uri="{BB962C8B-B14F-4D97-AF65-F5344CB8AC3E}">
        <p14:creationId xmlns:p14="http://schemas.microsoft.com/office/powerpoint/2010/main" val="35022840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BB85A97-EA76-7143-6BEA-FDD6A49BF3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>
            <a:extLst>
              <a:ext uri="{FF2B5EF4-FFF2-40B4-BE49-F238E27FC236}">
                <a16:creationId xmlns:a16="http://schemas.microsoft.com/office/drawing/2014/main" id="{FF0093C4-35B4-B8A1-720C-AE63A32E00ED}"/>
              </a:ext>
            </a:extLst>
          </p:cNvPr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22494B5F-78E7-BAF3-D2EE-694803894042}"/>
              </a:ext>
            </a:extLst>
          </p:cNvPr>
          <p:cNvSpPr txBox="1"/>
          <p:nvPr/>
        </p:nvSpPr>
        <p:spPr>
          <a:xfrm>
            <a:off x="254696" y="219075"/>
            <a:ext cx="11682608" cy="9548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  <a:p>
            <a:pPr marL="0" marR="0" lvl="0" indent="0" algn="ctr" defTabSz="60963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67" b="1" i="0" u="none" strike="noStrike" kern="1200" cap="none" spc="0" normalizeH="0" baseline="0" noProof="0" dirty="0">
                <a:ln>
                  <a:noFill/>
                </a:ln>
                <a:solidFill>
                  <a:srgbClr val="813158"/>
                </a:solidFill>
                <a:effectLst/>
                <a:uLnTx/>
                <a:uFillTx/>
                <a:latin typeface="DM Sans" pitchFamily="2" charset="77"/>
                <a:ea typeface="Helvetica Now Bold"/>
                <a:cs typeface="Helvetica Now Bold"/>
                <a:sym typeface="Helvetica Now Bold"/>
              </a:rPr>
              <a:t>Documentation of a conversation with parents or caregivers about adjustment to life with a newborn and safe sleep, and resources shared</a:t>
            </a: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B4973B2D-93D7-977F-EDA5-6CA5F3F42E2F}"/>
              </a:ext>
            </a:extLst>
          </p:cNvPr>
          <p:cNvSpPr txBox="1"/>
          <p:nvPr/>
        </p:nvSpPr>
        <p:spPr>
          <a:xfrm>
            <a:off x="606070" y="1270573"/>
            <a:ext cx="10979861" cy="5325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2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1" u="none" strike="noStrike" kern="1200" cap="none" spc="0" normalizeH="0" baseline="0" noProof="0" dirty="0">
                <a:ln>
                  <a:noFill/>
                </a:ln>
                <a:solidFill>
                  <a:srgbClr val="813158"/>
                </a:solidFill>
                <a:effectLst/>
                <a:uLnTx/>
                <a:uFillTx/>
                <a:latin typeface="DM Sans" pitchFamily="2" charset="77"/>
                <a:ea typeface="Helvetica Now Italics"/>
                <a:cs typeface="Helvetica Now Italics"/>
                <a:sym typeface="Helvetica Now Italics"/>
              </a:rPr>
              <a:t>Percentage of charts audited where there is documentation of a conversation about adjustment to life with a newborn and safe sleep​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4E5834-496B-A155-5EF1-77768C22DBFA}"/>
              </a:ext>
            </a:extLst>
          </p:cNvPr>
          <p:cNvSpPr/>
          <p:nvPr/>
        </p:nvSpPr>
        <p:spPr>
          <a:xfrm flipH="1">
            <a:off x="9850582" y="2575747"/>
            <a:ext cx="132906" cy="9228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pic>
        <p:nvPicPr>
          <p:cNvPr id="6" name="Picture 5" descr="A graph with numbers and a line&#10;&#10;AI-generated content may be incorrect.">
            <a:extLst>
              <a:ext uri="{FF2B5EF4-FFF2-40B4-BE49-F238E27FC236}">
                <a16:creationId xmlns:a16="http://schemas.microsoft.com/office/drawing/2014/main" id="{DB621232-633C-8C77-F82B-9E6398BA157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545"/>
          <a:stretch/>
        </p:blipFill>
        <p:spPr>
          <a:xfrm>
            <a:off x="1205345" y="2069537"/>
            <a:ext cx="9781310" cy="427808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1B4CDDF-4C57-F122-A922-2617DA68E107}"/>
              </a:ext>
            </a:extLst>
          </p:cNvPr>
          <p:cNvSpPr/>
          <p:nvPr/>
        </p:nvSpPr>
        <p:spPr>
          <a:xfrm>
            <a:off x="7232073" y="2905822"/>
            <a:ext cx="900545" cy="2668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392633-97E7-D2D9-396B-3DC2A8DEB854}"/>
              </a:ext>
            </a:extLst>
          </p:cNvPr>
          <p:cNvSpPr txBox="1"/>
          <p:nvPr/>
        </p:nvSpPr>
        <p:spPr>
          <a:xfrm>
            <a:off x="6369186" y="2850402"/>
            <a:ext cx="738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69.90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707344F-7BC3-D4AC-6A70-9FB59E92ED3A}"/>
              </a:ext>
            </a:extLst>
          </p:cNvPr>
          <p:cNvSpPr/>
          <p:nvPr/>
        </p:nvSpPr>
        <p:spPr>
          <a:xfrm>
            <a:off x="7356764" y="2575747"/>
            <a:ext cx="900545" cy="3300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00BE86-0551-B79A-5546-76316279F6C1}"/>
              </a:ext>
            </a:extLst>
          </p:cNvPr>
          <p:cNvSpPr txBox="1"/>
          <p:nvPr/>
        </p:nvSpPr>
        <p:spPr>
          <a:xfrm>
            <a:off x="7113021" y="3103789"/>
            <a:ext cx="841369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69.56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FB01D8C-3365-A6AE-8A63-810AC8E357E9}"/>
              </a:ext>
            </a:extLst>
          </p:cNvPr>
          <p:cNvCxnSpPr>
            <a:cxnSpLocks/>
          </p:cNvCxnSpPr>
          <p:nvPr/>
        </p:nvCxnSpPr>
        <p:spPr>
          <a:xfrm>
            <a:off x="1856509" y="2867076"/>
            <a:ext cx="9130146" cy="0"/>
          </a:xfrm>
          <a:prstGeom prst="line">
            <a:avLst/>
          </a:prstGeom>
          <a:ln w="19050">
            <a:solidFill>
              <a:srgbClr val="F0C7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reeform 21">
            <a:extLst>
              <a:ext uri="{FF2B5EF4-FFF2-40B4-BE49-F238E27FC236}">
                <a16:creationId xmlns:a16="http://schemas.microsoft.com/office/drawing/2014/main" id="{BAB513C1-315C-C3B9-E3FC-0C67F83283A1}"/>
              </a:ext>
            </a:extLst>
          </p:cNvPr>
          <p:cNvSpPr/>
          <p:nvPr/>
        </p:nvSpPr>
        <p:spPr>
          <a:xfrm>
            <a:off x="898209" y="1774281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13" name="TextBox 24">
            <a:extLst>
              <a:ext uri="{FF2B5EF4-FFF2-40B4-BE49-F238E27FC236}">
                <a16:creationId xmlns:a16="http://schemas.microsoft.com/office/drawing/2014/main" id="{05287AC8-8F5C-5871-D037-8716CC5955CE}"/>
              </a:ext>
            </a:extLst>
          </p:cNvPr>
          <p:cNvSpPr txBox="1"/>
          <p:nvPr/>
        </p:nvSpPr>
        <p:spPr>
          <a:xfrm>
            <a:off x="1496716" y="1922901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dirty="0">
                <a:solidFill>
                  <a:srgbClr val="FFFFFF"/>
                </a:solidFill>
                <a:latin typeface="DM Sans" pitchFamily="2" charset="77"/>
              </a:rPr>
              <a:t>AWARENESS</a:t>
            </a:r>
          </a:p>
        </p:txBody>
      </p:sp>
    </p:spTree>
    <p:extLst>
      <p:ext uri="{BB962C8B-B14F-4D97-AF65-F5344CB8AC3E}">
        <p14:creationId xmlns:p14="http://schemas.microsoft.com/office/powerpoint/2010/main" val="23652167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795234-300A-712D-09A0-00829CAE8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12E108C-A1FD-AB00-E600-54DA2C14A846}"/>
              </a:ext>
            </a:extLst>
          </p:cNvPr>
          <p:cNvSpPr/>
          <p:nvPr/>
        </p:nvSpPr>
        <p:spPr>
          <a:xfrm>
            <a:off x="6459798" y="961755"/>
            <a:ext cx="5131178" cy="337172"/>
          </a:xfrm>
          <a:prstGeom prst="rect">
            <a:avLst/>
          </a:prstGeom>
          <a:solidFill>
            <a:srgbClr val="FE6D7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DM Sans" pitchFamily="2" charset="77"/>
              </a:rPr>
              <a:t>Goal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1F7B003-1336-23EB-EBC0-217A6449AE17}"/>
              </a:ext>
            </a:extLst>
          </p:cNvPr>
          <p:cNvSpPr/>
          <p:nvPr/>
        </p:nvSpPr>
        <p:spPr>
          <a:xfrm>
            <a:off x="7869381" y="0"/>
            <a:ext cx="4322617" cy="789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DB6D29-94A9-7A47-E56C-2CCADDAC56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>
                <a:latin typeface="DM Sans" pitchFamily="2" charset="77"/>
              </a:rPr>
              <a:pPr/>
              <a:t>16</a:t>
            </a:fld>
            <a:endParaRPr lang="en-US">
              <a:latin typeface="DM Sans" pitchFamily="2" charset="77"/>
            </a:endParaRPr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1765D172-930F-5D1B-A0E7-A847C04664DC}"/>
              </a:ext>
            </a:extLst>
          </p:cNvPr>
          <p:cNvSpPr txBox="1"/>
          <p:nvPr/>
        </p:nvSpPr>
        <p:spPr>
          <a:xfrm>
            <a:off x="836786" y="5562784"/>
            <a:ext cx="3206735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DM Sans" pitchFamily="2" charset="77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9567F59F-42E8-1B4A-3C4A-6F685B507972}"/>
              </a:ext>
            </a:extLst>
          </p:cNvPr>
          <p:cNvSpPr/>
          <p:nvPr/>
        </p:nvSpPr>
        <p:spPr>
          <a:xfrm>
            <a:off x="504079" y="180535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>
              <a:latin typeface="DM Sans" pitchFamily="2" charset="77"/>
            </a:endParaRPr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45CC1BC8-7D69-74BA-CB99-2985BCCFC090}"/>
              </a:ext>
            </a:extLst>
          </p:cNvPr>
          <p:cNvSpPr txBox="1"/>
          <p:nvPr/>
        </p:nvSpPr>
        <p:spPr>
          <a:xfrm>
            <a:off x="298855" y="947398"/>
            <a:ext cx="410448" cy="10518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DM Sans" pitchFamily="2" charset="77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61647033-147B-B0F0-DB00-DC4F963DD7DA}"/>
              </a:ext>
            </a:extLst>
          </p:cNvPr>
          <p:cNvSpPr txBox="1"/>
          <p:nvPr/>
        </p:nvSpPr>
        <p:spPr>
          <a:xfrm>
            <a:off x="1102586" y="350537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dirty="0">
                <a:solidFill>
                  <a:srgbClr val="FFFFFF"/>
                </a:solidFill>
                <a:latin typeface="DM Sans" pitchFamily="2" charset="77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A8902694-890A-047F-B4EA-E9FD591CC6F9}"/>
              </a:ext>
            </a:extLst>
          </p:cNvPr>
          <p:cNvSpPr txBox="1"/>
          <p:nvPr/>
        </p:nvSpPr>
        <p:spPr>
          <a:xfrm>
            <a:off x="3954893" y="274431"/>
            <a:ext cx="7813693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 dirty="0">
                <a:solidFill>
                  <a:srgbClr val="000000"/>
                </a:solidFill>
                <a:latin typeface="DM Sans" pitchFamily="2" charset="77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9EC931-77B3-91F4-1C95-15FCCDB3BB6E}"/>
              </a:ext>
            </a:extLst>
          </p:cNvPr>
          <p:cNvSpPr txBox="1"/>
          <p:nvPr/>
        </p:nvSpPr>
        <p:spPr>
          <a:xfrm>
            <a:off x="5811864" y="1413816"/>
            <a:ext cx="638013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DM Sans" pitchFamily="2" charset="77"/>
              </a:rPr>
              <a:t>Understanding what a safe sleep environment looks like as a practition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DM Sans" pitchFamily="2" charset="77"/>
              </a:rPr>
              <a:t>Education and counseling for parents on how to create a safe sleep environment for the famil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54F2D49-241D-11C5-1F4A-3F31B9A29F2E}"/>
              </a:ext>
            </a:extLst>
          </p:cNvPr>
          <p:cNvSpPr txBox="1"/>
          <p:nvPr/>
        </p:nvSpPr>
        <p:spPr>
          <a:xfrm>
            <a:off x="1768331" y="2867551"/>
            <a:ext cx="3811059" cy="400110"/>
          </a:xfrm>
          <a:prstGeom prst="rect">
            <a:avLst/>
          </a:prstGeom>
          <a:solidFill>
            <a:srgbClr val="FE6D73"/>
          </a:solidFill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DM Sans" pitchFamily="2" charset="77"/>
              </a:rPr>
              <a:t>Strategies YOU can Implem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73B5D43-FDB3-208F-04C9-E171D7773BDB}"/>
              </a:ext>
            </a:extLst>
          </p:cNvPr>
          <p:cNvSpPr txBox="1"/>
          <p:nvPr/>
        </p:nvSpPr>
        <p:spPr>
          <a:xfrm>
            <a:off x="1762838" y="3429000"/>
            <a:ext cx="4636923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DM Sans" pitchFamily="2" charset="77"/>
              </a:rPr>
              <a:t>Model safe sleep in the hospi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DM Sans" pitchFamily="2" charset="77"/>
              </a:rPr>
              <a:t>Provide consistent, clear edu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DM Sans" pitchFamily="2" charset="77"/>
              </a:rPr>
              <a:t>Engage families with teach-ba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DM Sans" pitchFamily="2" charset="77"/>
              </a:rPr>
              <a:t>Personalize education through meaningful conversation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DM Sans" pitchFamily="2" charset="77"/>
              </a:rPr>
              <a:t>ILPQC “My Baby’s Safe Sleep Plan”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latin typeface="DM Sans" pitchFamily="2" charset="77"/>
              </a:rPr>
              <a:t>ILPQC ESSI Safe Sleep Conversation Tip Sheet for Nurses and Providers</a:t>
            </a:r>
          </a:p>
        </p:txBody>
      </p:sp>
      <p:pic>
        <p:nvPicPr>
          <p:cNvPr id="7" name="Picture 6" descr="A screenshot of a document&#10;&#10;AI-generated content may be incorrect.">
            <a:extLst>
              <a:ext uri="{FF2B5EF4-FFF2-40B4-BE49-F238E27FC236}">
                <a16:creationId xmlns:a16="http://schemas.microsoft.com/office/drawing/2014/main" id="{5F420399-AA24-A64B-A796-8D49F8BE6B7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7966" y="3090359"/>
            <a:ext cx="2854034" cy="3762585"/>
          </a:xfrm>
          <a:prstGeom prst="rect">
            <a:avLst/>
          </a:prstGeom>
        </p:spPr>
      </p:pic>
      <p:pic>
        <p:nvPicPr>
          <p:cNvPr id="8" name="Picture 7" descr="A baby sleeping in a white shirt&#10;&#10;AI-generated content may be incorrect.">
            <a:extLst>
              <a:ext uri="{FF2B5EF4-FFF2-40B4-BE49-F238E27FC236}">
                <a16:creationId xmlns:a16="http://schemas.microsoft.com/office/drawing/2014/main" id="{0B2DD5F0-9531-E146-D182-7E5B22E8DCB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52252"/>
            <a:ext cx="1721836" cy="4531147"/>
          </a:xfrm>
          <a:prstGeom prst="rect">
            <a:avLst/>
          </a:prstGeom>
        </p:spPr>
      </p:pic>
      <p:pic>
        <p:nvPicPr>
          <p:cNvPr id="10" name="Picture 9" descr="A baby sleep plan with text&#10;&#10;AI-generated content may be incorrect.">
            <a:extLst>
              <a:ext uri="{FF2B5EF4-FFF2-40B4-BE49-F238E27FC236}">
                <a16:creationId xmlns:a16="http://schemas.microsoft.com/office/drawing/2014/main" id="{5644846A-028C-15D5-4722-37F2EFADB1C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9797" y="2881304"/>
            <a:ext cx="3496887" cy="2569536"/>
          </a:xfrm>
          <a:prstGeom prst="rect">
            <a:avLst/>
          </a:prstGeom>
        </p:spPr>
      </p:pic>
      <p:pic>
        <p:nvPicPr>
          <p:cNvPr id="15" name="Picture 14" descr="A white card with blue and white text&#10;&#10;AI-generated content may be incorrect.">
            <a:extLst>
              <a:ext uri="{FF2B5EF4-FFF2-40B4-BE49-F238E27FC236}">
                <a16:creationId xmlns:a16="http://schemas.microsoft.com/office/drawing/2014/main" id="{196CAF60-8497-DAE6-EE61-F489E13C2F0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0498" y="1055575"/>
            <a:ext cx="2668789" cy="1605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8023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1">
            <a:extLst>
              <a:ext uri="{FF2B5EF4-FFF2-40B4-BE49-F238E27FC236}">
                <a16:creationId xmlns:a16="http://schemas.microsoft.com/office/drawing/2014/main" id="{33283A93-0BB1-397C-A6D4-463145908620}"/>
              </a:ext>
            </a:extLst>
          </p:cNvPr>
          <p:cNvSpPr/>
          <p:nvPr/>
        </p:nvSpPr>
        <p:spPr>
          <a:xfrm>
            <a:off x="504079" y="180535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>
              <a:latin typeface="DM Sans" pitchFamily="2" charset="77"/>
            </a:endParaRPr>
          </a:p>
        </p:txBody>
      </p:sp>
      <p:sp>
        <p:nvSpPr>
          <p:cNvPr id="3" name="TextBox 24">
            <a:extLst>
              <a:ext uri="{FF2B5EF4-FFF2-40B4-BE49-F238E27FC236}">
                <a16:creationId xmlns:a16="http://schemas.microsoft.com/office/drawing/2014/main" id="{74FEAECF-4882-6D5E-986C-BD45325756B2}"/>
              </a:ext>
            </a:extLst>
          </p:cNvPr>
          <p:cNvSpPr txBox="1"/>
          <p:nvPr/>
        </p:nvSpPr>
        <p:spPr>
          <a:xfrm>
            <a:off x="1102586" y="350537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dirty="0">
                <a:solidFill>
                  <a:srgbClr val="FFFFFF"/>
                </a:solidFill>
                <a:latin typeface="DM Sans" pitchFamily="2" charset="77"/>
              </a:rPr>
              <a:t>AWARENES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19BBB3-167C-1CA6-7811-EA9378F9D5CD}"/>
              </a:ext>
            </a:extLst>
          </p:cNvPr>
          <p:cNvSpPr txBox="1"/>
          <p:nvPr/>
        </p:nvSpPr>
        <p:spPr>
          <a:xfrm>
            <a:off x="504079" y="1364216"/>
            <a:ext cx="3811059" cy="707886"/>
          </a:xfrm>
          <a:prstGeom prst="rect">
            <a:avLst/>
          </a:prstGeom>
          <a:solidFill>
            <a:srgbClr val="FE6D73"/>
          </a:solidFill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DM Sans" pitchFamily="2" charset="77"/>
              </a:rPr>
              <a:t>ILPQC Safe Sleep Dot Phrase </a:t>
            </a:r>
            <a:r>
              <a:rPr lang="en-US" sz="2000" i="1" dirty="0">
                <a:solidFill>
                  <a:schemeClr val="bg1"/>
                </a:solidFill>
                <a:latin typeface="DM Sans" pitchFamily="2" charset="77"/>
              </a:rPr>
              <a:t>Available Now</a:t>
            </a:r>
          </a:p>
        </p:txBody>
      </p:sp>
      <p:pic>
        <p:nvPicPr>
          <p:cNvPr id="6" name="Picture 5" descr="A list of information about baby sleep&#10;&#10;AI-generated content may be incorrect.">
            <a:extLst>
              <a:ext uri="{FF2B5EF4-FFF2-40B4-BE49-F238E27FC236}">
                <a16:creationId xmlns:a16="http://schemas.microsoft.com/office/drawing/2014/main" id="{671D5A92-C42C-2D29-9318-3740E28FDC0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3280" y="661790"/>
            <a:ext cx="7184641" cy="57280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60ED77B-0180-0EAE-009E-FDC1B211D3BE}"/>
              </a:ext>
            </a:extLst>
          </p:cNvPr>
          <p:cNvSpPr txBox="1"/>
          <p:nvPr/>
        </p:nvSpPr>
        <p:spPr>
          <a:xfrm>
            <a:off x="504078" y="2647290"/>
            <a:ext cx="381105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E6D73"/>
                </a:solidFill>
                <a:latin typeface="DM Sans" pitchFamily="2" charset="77"/>
              </a:rPr>
              <a:t>On ILPQC website ESSI toolkit, under </a:t>
            </a:r>
            <a:r>
              <a:rPr lang="en-US" sz="2000" i="1" dirty="0">
                <a:solidFill>
                  <a:srgbClr val="FE6D73"/>
                </a:solidFill>
                <a:latin typeface="DM Sans" pitchFamily="2" charset="77"/>
              </a:rPr>
              <a:t>Initiative Onboarding and Data Forms</a:t>
            </a:r>
          </a:p>
        </p:txBody>
      </p:sp>
    </p:spTree>
    <p:extLst>
      <p:ext uri="{BB962C8B-B14F-4D97-AF65-F5344CB8AC3E}">
        <p14:creationId xmlns:p14="http://schemas.microsoft.com/office/powerpoint/2010/main" val="36880930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D1943DF-8EE0-56F4-C5C5-8F5B0E9279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>
            <a:extLst>
              <a:ext uri="{FF2B5EF4-FFF2-40B4-BE49-F238E27FC236}">
                <a16:creationId xmlns:a16="http://schemas.microsoft.com/office/drawing/2014/main" id="{6D3693D3-00F0-5A05-E164-AF38CAAEF237}"/>
              </a:ext>
            </a:extLst>
          </p:cNvPr>
          <p:cNvSpPr/>
          <p:nvPr/>
        </p:nvSpPr>
        <p:spPr>
          <a:xfrm>
            <a:off x="247500" y="158262"/>
            <a:ext cx="11697164" cy="6455738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90993B5C-EA63-900B-C29E-917AEF662907}"/>
              </a:ext>
            </a:extLst>
          </p:cNvPr>
          <p:cNvSpPr txBox="1"/>
          <p:nvPr/>
        </p:nvSpPr>
        <p:spPr>
          <a:xfrm>
            <a:off x="254696" y="374650"/>
            <a:ext cx="11682608" cy="313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67" b="1" i="0" u="none" strike="noStrike" kern="1200" cap="none" spc="0" normalizeH="0" baseline="0" noProof="0">
                <a:ln>
                  <a:noFill/>
                </a:ln>
                <a:solidFill>
                  <a:srgbClr val="813158"/>
                </a:solidFill>
                <a:effectLst/>
                <a:uLnTx/>
                <a:uFillTx/>
                <a:latin typeface="DM Sans" pitchFamily="2" charset="77"/>
                <a:ea typeface="Helvetica Now Bold"/>
                <a:cs typeface="Helvetica Now Bold"/>
                <a:sym typeface="Helvetica Now Bold"/>
              </a:rPr>
              <a:t>SDOH Screening and Linkage Documentation in Infant’s Chart​</a:t>
            </a: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3F612D4B-33DA-EDDF-9B1B-813A696ED097}"/>
              </a:ext>
            </a:extLst>
          </p:cNvPr>
          <p:cNvSpPr txBox="1"/>
          <p:nvPr/>
        </p:nvSpPr>
        <p:spPr>
          <a:xfrm>
            <a:off x="597750" y="890010"/>
            <a:ext cx="10979861" cy="5325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2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1" u="none" strike="noStrike" kern="1200" cap="none" spc="0" normalizeH="0" baseline="0" noProof="0">
                <a:ln>
                  <a:noFill/>
                </a:ln>
                <a:solidFill>
                  <a:srgbClr val="813158"/>
                </a:solidFill>
                <a:effectLst/>
                <a:uLnTx/>
                <a:uFillTx/>
                <a:latin typeface="DM Sans" pitchFamily="2" charset="77"/>
                <a:ea typeface="Helvetica Now Italics"/>
                <a:cs typeface="Helvetica Now Italics"/>
                <a:sym typeface="Helvetica Now Italics"/>
              </a:rPr>
              <a:t>Percentage of charts audited where SDOH screening is documented and subsequent linkage (if needs identified)</a:t>
            </a:r>
          </a:p>
        </p:txBody>
      </p:sp>
      <p:pic>
        <p:nvPicPr>
          <p:cNvPr id="6" name="Picture 5" descr="A graph with numbers and a line&#10;&#10;AI-generated content may be incorrect.">
            <a:extLst>
              <a:ext uri="{FF2B5EF4-FFF2-40B4-BE49-F238E27FC236}">
                <a16:creationId xmlns:a16="http://schemas.microsoft.com/office/drawing/2014/main" id="{FF895B91-2051-6F20-4C23-83E26CCFE03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09"/>
          <a:stretch/>
        </p:blipFill>
        <p:spPr>
          <a:xfrm>
            <a:off x="1035533" y="2050473"/>
            <a:ext cx="10120934" cy="391751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060F3D2-38C5-55DE-85EB-3D674E4B78B4}"/>
              </a:ext>
            </a:extLst>
          </p:cNvPr>
          <p:cNvSpPr/>
          <p:nvPr/>
        </p:nvSpPr>
        <p:spPr>
          <a:xfrm>
            <a:off x="7167472" y="3386131"/>
            <a:ext cx="959796" cy="611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DA5F31E-3365-327F-D7FE-BF7BAEB20111}"/>
              </a:ext>
            </a:extLst>
          </p:cNvPr>
          <p:cNvSpPr/>
          <p:nvPr/>
        </p:nvSpPr>
        <p:spPr>
          <a:xfrm>
            <a:off x="7401255" y="2925099"/>
            <a:ext cx="1151107" cy="7133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9AC9EE-1E5D-C543-B945-91B481E25B4F}"/>
              </a:ext>
            </a:extLst>
          </p:cNvPr>
          <p:cNvCxnSpPr>
            <a:cxnSpLocks/>
          </p:cNvCxnSpPr>
          <p:nvPr/>
        </p:nvCxnSpPr>
        <p:spPr>
          <a:xfrm>
            <a:off x="1530927" y="3281793"/>
            <a:ext cx="9130146" cy="0"/>
          </a:xfrm>
          <a:prstGeom prst="line">
            <a:avLst/>
          </a:prstGeom>
          <a:ln w="19050">
            <a:solidFill>
              <a:srgbClr val="F0C7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A9F2CFE8-53ED-60F4-608E-5CFC9AAE2D29}"/>
              </a:ext>
            </a:extLst>
          </p:cNvPr>
          <p:cNvSpPr txBox="1"/>
          <p:nvPr/>
        </p:nvSpPr>
        <p:spPr>
          <a:xfrm>
            <a:off x="6882584" y="3299800"/>
            <a:ext cx="63176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59.6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89B6FF-27C9-5BBF-498B-295378E82812}"/>
              </a:ext>
            </a:extLst>
          </p:cNvPr>
          <p:cNvSpPr txBox="1"/>
          <p:nvPr/>
        </p:nvSpPr>
        <p:spPr>
          <a:xfrm>
            <a:off x="6882129" y="2887468"/>
            <a:ext cx="63176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83.3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C2929CC-C7BC-603C-D4D6-E4C5E4942ACB}"/>
              </a:ext>
            </a:extLst>
          </p:cNvPr>
          <p:cNvSpPr txBox="1"/>
          <p:nvPr/>
        </p:nvSpPr>
        <p:spPr>
          <a:xfrm>
            <a:off x="6486678" y="2653790"/>
            <a:ext cx="63176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90.38</a:t>
            </a:r>
          </a:p>
        </p:txBody>
      </p:sp>
      <p:sp>
        <p:nvSpPr>
          <p:cNvPr id="12" name="Freeform 17">
            <a:extLst>
              <a:ext uri="{FF2B5EF4-FFF2-40B4-BE49-F238E27FC236}">
                <a16:creationId xmlns:a16="http://schemas.microsoft.com/office/drawing/2014/main" id="{E2F19421-DCE5-FE18-D836-D8B3DAF212A0}"/>
              </a:ext>
            </a:extLst>
          </p:cNvPr>
          <p:cNvSpPr/>
          <p:nvPr/>
        </p:nvSpPr>
        <p:spPr>
          <a:xfrm>
            <a:off x="1035533" y="1263259"/>
            <a:ext cx="2705194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13" name="TextBox 18">
            <a:extLst>
              <a:ext uri="{FF2B5EF4-FFF2-40B4-BE49-F238E27FC236}">
                <a16:creationId xmlns:a16="http://schemas.microsoft.com/office/drawing/2014/main" id="{076411C2-857F-D9C2-17AC-E6E105E6BE59}"/>
              </a:ext>
            </a:extLst>
          </p:cNvPr>
          <p:cNvSpPr txBox="1"/>
          <p:nvPr/>
        </p:nvSpPr>
        <p:spPr>
          <a:xfrm>
            <a:off x="1425034" y="1429845"/>
            <a:ext cx="2028316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dirty="0">
                <a:solidFill>
                  <a:srgbClr val="FFFFFF"/>
                </a:solidFill>
                <a:latin typeface="DM Sans" pitchFamily="2" charset="77"/>
              </a:rPr>
              <a:t>READINESS</a:t>
            </a:r>
          </a:p>
        </p:txBody>
      </p:sp>
    </p:spTree>
    <p:extLst>
      <p:ext uri="{BB962C8B-B14F-4D97-AF65-F5344CB8AC3E}">
        <p14:creationId xmlns:p14="http://schemas.microsoft.com/office/powerpoint/2010/main" val="60723771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E9058B-8968-D626-0063-AD290A84D0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4D631F2-5405-F147-D6D3-15F2BFB7C9D3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DM Sans" pitchFamily="2" charset="77"/>
              </a:rPr>
              <a:t>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C2801B-F68D-75D6-489B-502729C9D18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>
                <a:latin typeface="DM Sans" pitchFamily="2" charset="77"/>
              </a:rPr>
              <a:pPr/>
              <a:t>19</a:t>
            </a:fld>
            <a:endParaRPr lang="en-US">
              <a:latin typeface="DM Sans" pitchFamily="2" charset="77"/>
            </a:endParaRPr>
          </a:p>
        </p:txBody>
      </p:sp>
      <p:sp>
        <p:nvSpPr>
          <p:cNvPr id="26" name="TextBox 15">
            <a:extLst>
              <a:ext uri="{FF2B5EF4-FFF2-40B4-BE49-F238E27FC236}">
                <a16:creationId xmlns:a16="http://schemas.microsoft.com/office/drawing/2014/main" id="{EED4533E-6741-68A8-A590-BC30CD511716}"/>
              </a:ext>
            </a:extLst>
          </p:cNvPr>
          <p:cNvSpPr txBox="1"/>
          <p:nvPr/>
        </p:nvSpPr>
        <p:spPr>
          <a:xfrm>
            <a:off x="992051" y="1158360"/>
            <a:ext cx="10796527" cy="6537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 dirty="0">
                <a:solidFill>
                  <a:srgbClr val="FFFFFF"/>
                </a:solidFill>
                <a:latin typeface="DM Sans" pitchFamily="2" charset="77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E57794B9-80A3-876E-2FC8-39DFCFF0BFA8}"/>
              </a:ext>
            </a:extLst>
          </p:cNvPr>
          <p:cNvSpPr/>
          <p:nvPr/>
        </p:nvSpPr>
        <p:spPr>
          <a:xfrm>
            <a:off x="647293" y="876377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b="1" dirty="0">
              <a:latin typeface="DM Sans" pitchFamily="2" charset="77"/>
            </a:endParaRPr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7A2E2531-EF59-3C1A-323A-601769C1B909}"/>
              </a:ext>
            </a:extLst>
          </p:cNvPr>
          <p:cNvSpPr txBox="1"/>
          <p:nvPr/>
        </p:nvSpPr>
        <p:spPr>
          <a:xfrm>
            <a:off x="1246576" y="1045170"/>
            <a:ext cx="2028316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b="1" dirty="0">
                <a:solidFill>
                  <a:srgbClr val="FFFFFF"/>
                </a:solidFill>
                <a:latin typeface="DM Sans" pitchFamily="2" charset="77"/>
              </a:rPr>
              <a:t>READINESS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5165B6CA-5882-F530-141F-7B28EAF7AEE2}"/>
              </a:ext>
            </a:extLst>
          </p:cNvPr>
          <p:cNvSpPr txBox="1"/>
          <p:nvPr/>
        </p:nvSpPr>
        <p:spPr>
          <a:xfrm>
            <a:off x="4134963" y="957525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 dirty="0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Family is prepared for a transition to home, including </a:t>
            </a:r>
            <a:r>
              <a:rPr lang="en-US" sz="2200" dirty="0" err="1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SDoH</a:t>
            </a:r>
            <a:r>
              <a:rPr lang="en-US" sz="2200" dirty="0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 screening and resource linkage.</a:t>
            </a:r>
            <a:endParaRPr lang="en-US" sz="2200" dirty="0">
              <a:solidFill>
                <a:srgbClr val="000000"/>
              </a:solidFill>
              <a:latin typeface="DM Sans" pitchFamily="2" charset="77"/>
            </a:endParaRP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F6296703-EC8F-2703-99FA-751F58A33D02}"/>
              </a:ext>
            </a:extLst>
          </p:cNvPr>
          <p:cNvSpPr/>
          <p:nvPr/>
        </p:nvSpPr>
        <p:spPr>
          <a:xfrm>
            <a:off x="10396987" y="115438"/>
            <a:ext cx="1679392" cy="80921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0335F7-895D-C7C0-0C52-5A2549BE808B}"/>
              </a:ext>
            </a:extLst>
          </p:cNvPr>
          <p:cNvSpPr txBox="1"/>
          <p:nvPr/>
        </p:nvSpPr>
        <p:spPr>
          <a:xfrm>
            <a:off x="440664" y="2581747"/>
            <a:ext cx="4231129" cy="367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>
                <a:latin typeface="DM Sans" pitchFamily="2" charset="77"/>
              </a:rPr>
              <a:t>Identifying, selecting, and adapting a comprehensive screening tool to assess infant health and family need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i="1" dirty="0">
                <a:latin typeface="DM Sans" pitchFamily="2" charset="77"/>
              </a:rPr>
              <a:t>Ensure the tool covers key family domains such as housing stability, food security, transportation access, caregiver support and infant items.</a:t>
            </a:r>
            <a:endParaRPr lang="en-US" sz="1700" dirty="0">
              <a:latin typeface="DM Sans" pitchFamily="2" charset="77"/>
            </a:endParaRPr>
          </a:p>
          <a:p>
            <a:pPr lvl="1"/>
            <a:endParaRPr lang="en-US" sz="1700" dirty="0">
              <a:latin typeface="DM Sans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>
                <a:latin typeface="DM Sans" pitchFamily="2" charset="77"/>
              </a:rPr>
              <a:t>Collaborate and discuss strategies to integrate infant screening processes into current workflows and EM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700" dirty="0">
              <a:latin typeface="DM Sans" pitchFamily="2" charset="7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F4B98A-466C-4A98-C563-6D7BC16D281E}"/>
              </a:ext>
            </a:extLst>
          </p:cNvPr>
          <p:cNvSpPr txBox="1"/>
          <p:nvPr/>
        </p:nvSpPr>
        <p:spPr>
          <a:xfrm>
            <a:off x="440664" y="1965550"/>
            <a:ext cx="3189658" cy="400110"/>
          </a:xfrm>
          <a:prstGeom prst="rect">
            <a:avLst/>
          </a:prstGeom>
          <a:noFill/>
          <a:ln w="38100">
            <a:solidFill>
              <a:srgbClr val="FFCB77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DM Sans" pitchFamily="2" charset="77"/>
              </a:rPr>
              <a:t>Goals – SDOH Screen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674545-7CE5-7C0F-8CF0-205C3B26EE5A}"/>
              </a:ext>
            </a:extLst>
          </p:cNvPr>
          <p:cNvSpPr txBox="1"/>
          <p:nvPr/>
        </p:nvSpPr>
        <p:spPr>
          <a:xfrm>
            <a:off x="5159703" y="1890428"/>
            <a:ext cx="2460726" cy="400110"/>
          </a:xfrm>
          <a:prstGeom prst="rect">
            <a:avLst/>
          </a:prstGeom>
          <a:noFill/>
          <a:ln w="38100">
            <a:solidFill>
              <a:srgbClr val="FFCB77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DM Sans" pitchFamily="2" charset="77"/>
              </a:rPr>
              <a:t>Strategi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E26B8A-9964-3D68-73E9-01025CCDC93C}"/>
              </a:ext>
            </a:extLst>
          </p:cNvPr>
          <p:cNvSpPr txBox="1"/>
          <p:nvPr/>
        </p:nvSpPr>
        <p:spPr>
          <a:xfrm>
            <a:off x="4469154" y="2506625"/>
            <a:ext cx="3841823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>
                <a:latin typeface="DM Sans" pitchFamily="2" charset="77"/>
              </a:rPr>
              <a:t>Map your current screening workflow – who does what, when, and how is it documented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>
                <a:latin typeface="DM Sans" pitchFamily="2" charset="77"/>
              </a:rPr>
              <a:t>Collaborate with your local IT team to help streamline documentation of infant needs. This may look like prompts, pop-up boxes, or additional steps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293ABC-DFF8-FB25-A4E8-D8350460488D}"/>
              </a:ext>
            </a:extLst>
          </p:cNvPr>
          <p:cNvSpPr txBox="1"/>
          <p:nvPr/>
        </p:nvSpPr>
        <p:spPr>
          <a:xfrm>
            <a:off x="4134963" y="6206056"/>
            <a:ext cx="512167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1700" i="1" dirty="0">
                <a:latin typeface="DM Sans" pitchFamily="2" charset="77"/>
              </a:rPr>
              <a:t>ILPQC SDOH Dot Phrase coming soon</a:t>
            </a:r>
          </a:p>
        </p:txBody>
      </p:sp>
      <p:pic>
        <p:nvPicPr>
          <p:cNvPr id="7" name="Picture 6" descr="A close-up of a crib&#10;&#10;AI-generated content may be incorrect.">
            <a:extLst>
              <a:ext uri="{FF2B5EF4-FFF2-40B4-BE49-F238E27FC236}">
                <a16:creationId xmlns:a16="http://schemas.microsoft.com/office/drawing/2014/main" id="{6E46D5BD-691A-35BC-D334-F4C8C5F7A9C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4501" y="1841500"/>
            <a:ext cx="3531878" cy="2002701"/>
          </a:xfrm>
          <a:prstGeom prst="rect">
            <a:avLst/>
          </a:prstGeom>
        </p:spPr>
      </p:pic>
      <p:pic>
        <p:nvPicPr>
          <p:cNvPr id="12" name="Picture 11" descr="A circular chart with different colored circles&#10;&#10;AI-generated content may be incorrect.">
            <a:extLst>
              <a:ext uri="{FF2B5EF4-FFF2-40B4-BE49-F238E27FC236}">
                <a16:creationId xmlns:a16="http://schemas.microsoft.com/office/drawing/2014/main" id="{CBE076E8-B080-2D4B-3ACF-CA6BF5FF128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3362" y="4136338"/>
            <a:ext cx="2334980" cy="2350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2702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noFill/>
        </p:spPr>
        <p:txBody>
          <a:bodyPr>
            <a:normAutofit/>
          </a:bodyPr>
          <a:lstStyle/>
          <a:p>
            <a:r>
              <a:rPr lang="en-US" altLang="en-US" sz="4800">
                <a:ea typeface="Lato Medium"/>
                <a:cs typeface="Lato Medium"/>
              </a:rPr>
              <a:t>Overview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10371659" cy="3170285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 dirty="0">
              <a:latin typeface="+mj-lt"/>
            </a:endParaRPr>
          </a:p>
          <a:p>
            <a:pPr>
              <a:buClr>
                <a:srgbClr val="F5668F"/>
              </a:buClr>
            </a:pPr>
            <a:endParaRPr lang="en-US" altLang="en-US" sz="2800" dirty="0">
              <a:latin typeface="+mj-lt"/>
            </a:endParaRPr>
          </a:p>
          <a:p>
            <a:pPr>
              <a:buClr>
                <a:srgbClr val="F5668F"/>
              </a:buClr>
            </a:pPr>
            <a:endParaRPr lang="en-US" altLang="en-US" sz="2200" dirty="0">
              <a:latin typeface="+mj-lt"/>
            </a:endParaRPr>
          </a:p>
          <a:p>
            <a:pPr>
              <a:buClr>
                <a:srgbClr val="F5668F"/>
              </a:buClr>
            </a:pPr>
            <a:endParaRPr lang="en-US" altLang="en-US" sz="2200" dirty="0">
              <a:latin typeface="+mj-lt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0B2A739-51C3-9CBF-7F6C-3EE69AAB6035}"/>
              </a:ext>
            </a:extLst>
          </p:cNvPr>
          <p:cNvSpPr txBox="1">
            <a:spLocks/>
          </p:cNvSpPr>
          <p:nvPr/>
        </p:nvSpPr>
        <p:spPr>
          <a:xfrm>
            <a:off x="613411" y="1599520"/>
            <a:ext cx="10972800" cy="48286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DM Sans" pitchFamily="2" charset="77"/>
                <a:ea typeface="Lato"/>
                <a:cs typeface="Calibri" panose="020F0502020204030204" pitchFamily="34" charset="0"/>
              </a:rPr>
              <a:t>Face-to-Face Logistics</a:t>
            </a:r>
          </a:p>
          <a:p>
            <a:r>
              <a:rPr lang="en-US" sz="2800" dirty="0">
                <a:latin typeface="DM Sans" pitchFamily="2" charset="77"/>
                <a:ea typeface="Lato Medium"/>
                <a:cs typeface="Lato Medium"/>
              </a:rPr>
              <a:t>ESSI Initiative Aims, Bundle and Data Progress</a:t>
            </a:r>
            <a:endParaRPr lang="en-US" sz="2800" dirty="0">
              <a:latin typeface="DM Sans" pitchFamily="2" charset="77"/>
              <a:ea typeface="Lato"/>
              <a:cs typeface="Calibri" panose="020F0502020204030204" pitchFamily="34" charset="0"/>
            </a:endParaRPr>
          </a:p>
          <a:p>
            <a:r>
              <a:rPr lang="en-US" sz="2800" dirty="0">
                <a:latin typeface="DM Sans" pitchFamily="2" charset="77"/>
                <a:ea typeface="Lato"/>
                <a:cs typeface="Calibri" panose="020F0502020204030204" pitchFamily="34" charset="0"/>
              </a:rPr>
              <a:t>Team Talk: Alexis Vlahos, Northwestern Palos Hospital</a:t>
            </a:r>
          </a:p>
          <a:p>
            <a:pPr marL="0" indent="0">
              <a:buNone/>
            </a:pPr>
            <a:endParaRPr lang="en-US" sz="2800" dirty="0">
              <a:latin typeface="DM Sans" pitchFamily="2" charset="77"/>
              <a:ea typeface="Lato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691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84296A-6601-73C0-E886-4B96B1233D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ECA40FE-2665-4387-C6A2-3D3853FB22B8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DM Sans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2B1081-2CED-BCE4-8068-CE0FD8E576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>
                <a:latin typeface="DM Sans" pitchFamily="2" charset="77"/>
              </a:rPr>
              <a:pPr/>
              <a:t>20</a:t>
            </a:fld>
            <a:endParaRPr lang="en-US">
              <a:latin typeface="DM Sans" pitchFamily="2" charset="77"/>
            </a:endParaRPr>
          </a:p>
        </p:txBody>
      </p:sp>
      <p:sp>
        <p:nvSpPr>
          <p:cNvPr id="26" name="TextBox 15">
            <a:extLst>
              <a:ext uri="{FF2B5EF4-FFF2-40B4-BE49-F238E27FC236}">
                <a16:creationId xmlns:a16="http://schemas.microsoft.com/office/drawing/2014/main" id="{693F65F3-4DB3-3174-4E0D-6C1C029D104E}"/>
              </a:ext>
            </a:extLst>
          </p:cNvPr>
          <p:cNvSpPr txBox="1"/>
          <p:nvPr/>
        </p:nvSpPr>
        <p:spPr>
          <a:xfrm>
            <a:off x="992051" y="1158360"/>
            <a:ext cx="10796527" cy="6537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 dirty="0">
                <a:solidFill>
                  <a:srgbClr val="FFFFFF"/>
                </a:solidFill>
                <a:latin typeface="DM Sans" pitchFamily="2" charset="77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4A3CA840-85E1-57AE-8F89-F2B3ECE181CF}"/>
              </a:ext>
            </a:extLst>
          </p:cNvPr>
          <p:cNvSpPr/>
          <p:nvPr/>
        </p:nvSpPr>
        <p:spPr>
          <a:xfrm>
            <a:off x="672182" y="221725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870E01C3-1684-4C90-39AF-4F9E3C4C0ED2}"/>
              </a:ext>
            </a:extLst>
          </p:cNvPr>
          <p:cNvSpPr txBox="1"/>
          <p:nvPr/>
        </p:nvSpPr>
        <p:spPr>
          <a:xfrm>
            <a:off x="1210621" y="376205"/>
            <a:ext cx="2028316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DM Sans" pitchFamily="2" charset="77"/>
              </a:rPr>
              <a:t>READINESS</a:t>
            </a:r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15FE1DEE-D677-DC30-C1C2-AC4B34F3B2BE}"/>
              </a:ext>
            </a:extLst>
          </p:cNvPr>
          <p:cNvSpPr txBox="1"/>
          <p:nvPr/>
        </p:nvSpPr>
        <p:spPr>
          <a:xfrm>
            <a:off x="298855" y="947398"/>
            <a:ext cx="410448" cy="10518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DM Sans" pitchFamily="2" charset="77"/>
              </a:rPr>
              <a:t>1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264D5341-DB46-EBEB-5410-5FF98E3F57C2}"/>
              </a:ext>
            </a:extLst>
          </p:cNvPr>
          <p:cNvSpPr txBox="1"/>
          <p:nvPr/>
        </p:nvSpPr>
        <p:spPr>
          <a:xfrm>
            <a:off x="4134963" y="244602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 dirty="0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Family is prepared for a transition to home, including </a:t>
            </a:r>
            <a:r>
              <a:rPr lang="en-US" sz="2200" dirty="0" err="1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SDoH</a:t>
            </a:r>
            <a:r>
              <a:rPr lang="en-US" sz="2200" dirty="0">
                <a:solidFill>
                  <a:srgbClr val="000000"/>
                </a:solidFill>
                <a:latin typeface="DM Sans" pitchFamily="2" charset="77"/>
                <a:ea typeface="+mn-lt"/>
                <a:cs typeface="+mn-lt"/>
              </a:rPr>
              <a:t> screening and resource linkage.</a:t>
            </a:r>
            <a:endParaRPr lang="en-US" sz="2200" dirty="0">
              <a:solidFill>
                <a:srgbClr val="000000"/>
              </a:solidFill>
              <a:latin typeface="DM Sans" pitchFamily="2" charset="77"/>
            </a:endParaRP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F3FA082B-A7AB-1132-2514-AB31414B0E2C}"/>
              </a:ext>
            </a:extLst>
          </p:cNvPr>
          <p:cNvSpPr/>
          <p:nvPr/>
        </p:nvSpPr>
        <p:spPr>
          <a:xfrm>
            <a:off x="10396987" y="115438"/>
            <a:ext cx="1679392" cy="80921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>
              <a:latin typeface="DM Sans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1F1A43-756B-1898-15B9-B81D3ABA9E7A}"/>
              </a:ext>
            </a:extLst>
          </p:cNvPr>
          <p:cNvSpPr txBox="1"/>
          <p:nvPr/>
        </p:nvSpPr>
        <p:spPr>
          <a:xfrm>
            <a:off x="375187" y="1128989"/>
            <a:ext cx="4828760" cy="400110"/>
          </a:xfrm>
          <a:prstGeom prst="rect">
            <a:avLst/>
          </a:prstGeom>
          <a:noFill/>
          <a:ln w="38100">
            <a:solidFill>
              <a:srgbClr val="FFCB77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DM Sans" pitchFamily="2" charset="77"/>
              </a:rPr>
              <a:t>Goals – Resource Referral and Linka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B0E68F-77D5-883F-F52D-EA591CABD22E}"/>
              </a:ext>
            </a:extLst>
          </p:cNvPr>
          <p:cNvSpPr txBox="1"/>
          <p:nvPr/>
        </p:nvSpPr>
        <p:spPr>
          <a:xfrm>
            <a:off x="298855" y="3310628"/>
            <a:ext cx="2460726" cy="400110"/>
          </a:xfrm>
          <a:prstGeom prst="rect">
            <a:avLst/>
          </a:prstGeom>
          <a:noFill/>
          <a:ln w="38100">
            <a:solidFill>
              <a:srgbClr val="FFCB77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DM Sans" pitchFamily="2" charset="77"/>
              </a:rPr>
              <a:t>Strateg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9D21198-AAF5-B591-5F4F-09BB4CEC290F}"/>
              </a:ext>
            </a:extLst>
          </p:cNvPr>
          <p:cNvSpPr txBox="1"/>
          <p:nvPr/>
        </p:nvSpPr>
        <p:spPr>
          <a:xfrm>
            <a:off x="375187" y="1630910"/>
            <a:ext cx="709499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>
                <a:latin typeface="DM Sans" pitchFamily="2" charset="77"/>
              </a:rPr>
              <a:t>Understand the community you serve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i="1" dirty="0">
                <a:latin typeface="DM Sans" pitchFamily="2" charset="77"/>
              </a:rPr>
              <a:t>Build awareness of local resources and common social needs to ensure families are linked to appropriate, accessible services.</a:t>
            </a:r>
            <a:endParaRPr lang="en-US" sz="1600" dirty="0">
              <a:latin typeface="DM Sans" pitchFamily="2" charset="77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>
                <a:latin typeface="DM Sans" pitchFamily="2" charset="77"/>
              </a:rPr>
              <a:t>Supporting families through care transition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i="1" dirty="0">
                <a:latin typeface="DM Sans" pitchFamily="2" charset="77"/>
              </a:rPr>
              <a:t>Connect families with programs that align with their identified needs as they move from hospital to home</a:t>
            </a:r>
            <a:endParaRPr lang="en-US" sz="1700" dirty="0">
              <a:latin typeface="DM Sans" pitchFamily="2" charset="77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700" dirty="0">
              <a:latin typeface="DM Sans" pitchFamily="2" charset="77"/>
            </a:endParaRPr>
          </a:p>
        </p:txBody>
      </p:sp>
      <p:pic>
        <p:nvPicPr>
          <p:cNvPr id="7" name="Picture 6" descr="A black and white text&#10;&#10;AI-generated content may be incorrect.">
            <a:extLst>
              <a:ext uri="{FF2B5EF4-FFF2-40B4-BE49-F238E27FC236}">
                <a16:creationId xmlns:a16="http://schemas.microsoft.com/office/drawing/2014/main" id="{6FBA2A5A-943E-F47D-9F8B-49CFDF251ED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2045" y="1128078"/>
            <a:ext cx="2451100" cy="622300"/>
          </a:xfrm>
          <a:prstGeom prst="rect">
            <a:avLst/>
          </a:prstGeom>
        </p:spPr>
      </p:pic>
      <p:pic>
        <p:nvPicPr>
          <p:cNvPr id="11" name="Picture 10" descr="A black and white document with black text&#10;&#10;AI-generated content may be incorrect.">
            <a:extLst>
              <a:ext uri="{FF2B5EF4-FFF2-40B4-BE49-F238E27FC236}">
                <a16:creationId xmlns:a16="http://schemas.microsoft.com/office/drawing/2014/main" id="{FA716B4F-3144-AFE9-65B4-56DBC4A00EE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3956" y="2470426"/>
            <a:ext cx="4950850" cy="383722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78829B-4C65-ACB6-AE41-67B6730BAEA9}"/>
              </a:ext>
            </a:extLst>
          </p:cNvPr>
          <p:cNvSpPr txBox="1"/>
          <p:nvPr/>
        </p:nvSpPr>
        <p:spPr>
          <a:xfrm>
            <a:off x="298856" y="3930613"/>
            <a:ext cx="634991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>
                <a:latin typeface="DM Sans" pitchFamily="2" charset="77"/>
              </a:rPr>
              <a:t>Contacting, engaging, and partnering with community-based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>
                <a:latin typeface="DM Sans" pitchFamily="2" charset="77"/>
              </a:rPr>
              <a:t>Building a resource guide – make sure to highlight resources for infants (diapers, lactation consultants,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700" dirty="0">
              <a:latin typeface="DM Sans" pitchFamily="2" charset="77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700" dirty="0">
              <a:latin typeface="DM Sans" pitchFamily="2" charset="77"/>
            </a:endParaRPr>
          </a:p>
        </p:txBody>
      </p:sp>
      <p:pic>
        <p:nvPicPr>
          <p:cNvPr id="14" name="Picture 13" descr="A screenshot of a computer&#10;&#10;AI-generated content may be incorrect.">
            <a:extLst>
              <a:ext uri="{FF2B5EF4-FFF2-40B4-BE49-F238E27FC236}">
                <a16:creationId xmlns:a16="http://schemas.microsoft.com/office/drawing/2014/main" id="{4BAB15CC-EEBE-A1B0-48EE-F2DF3F32EF5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48774" y="4518326"/>
            <a:ext cx="3478423" cy="2095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0951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496FA37-6C28-89A9-776D-F80E69F8F6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>
            <a:extLst>
              <a:ext uri="{FF2B5EF4-FFF2-40B4-BE49-F238E27FC236}">
                <a16:creationId xmlns:a16="http://schemas.microsoft.com/office/drawing/2014/main" id="{F94CA048-1ED6-4315-6D9A-6A80C20F6262}"/>
              </a:ext>
            </a:extLst>
          </p:cNvPr>
          <p:cNvSpPr/>
          <p:nvPr/>
        </p:nvSpPr>
        <p:spPr>
          <a:xfrm>
            <a:off x="247418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ts val="37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813158"/>
              </a:solidFill>
              <a:effectLst/>
              <a:uLnTx/>
              <a:uFillTx/>
              <a:latin typeface="DM Sans" pitchFamily="2" charset="77"/>
              <a:ea typeface="Helvetica Now"/>
              <a:cs typeface="Helvetica Now"/>
              <a:sym typeface="Helvetica Now"/>
            </a:endParaRP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9FF77981-B295-BBEF-4BED-B71CF223A09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7418" y="1010312"/>
            <a:ext cx="11469119" cy="511568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ED12871-9455-2BDB-BEAC-A5CA0A979AE8}"/>
              </a:ext>
            </a:extLst>
          </p:cNvPr>
          <p:cNvSpPr txBox="1"/>
          <p:nvPr/>
        </p:nvSpPr>
        <p:spPr>
          <a:xfrm>
            <a:off x="4680488" y="825646"/>
            <a:ext cx="3549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13158"/>
                </a:solidFill>
                <a:effectLst/>
                <a:uLnTx/>
                <a:uFillTx/>
                <a:latin typeface="DM Sans" pitchFamily="2" charset="77"/>
                <a:ea typeface="Helvetica Now"/>
                <a:cs typeface="Helvetica Now"/>
                <a:sym typeface="Helvetica Now"/>
              </a:rPr>
              <a:t>Transfer of Care Proces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7F19AEA-AD5F-1EE5-0E8B-28AF4A542010}"/>
              </a:ext>
            </a:extLst>
          </p:cNvPr>
          <p:cNvSpPr txBox="1"/>
          <p:nvPr/>
        </p:nvSpPr>
        <p:spPr>
          <a:xfrm>
            <a:off x="981559" y="5888504"/>
            <a:ext cx="10228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13158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Hospital has a standardized process for transfer of care to the newborn's community provider, including documentation of ESSI Newborn Care Plan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813158"/>
              </a:solidFill>
              <a:effectLst/>
              <a:uLnTx/>
              <a:uFillTx/>
              <a:latin typeface="DM Sans" pitchFamily="2" charset="77"/>
              <a:ea typeface="Helvetica Now"/>
              <a:cs typeface="Helvetica Now"/>
              <a:sym typeface="Helvetica Now"/>
            </a:endParaRPr>
          </a:p>
        </p:txBody>
      </p:sp>
      <p:sp>
        <p:nvSpPr>
          <p:cNvPr id="3" name="Freeform 19">
            <a:extLst>
              <a:ext uri="{FF2B5EF4-FFF2-40B4-BE49-F238E27FC236}">
                <a16:creationId xmlns:a16="http://schemas.microsoft.com/office/drawing/2014/main" id="{494EAF62-30CB-A974-4A6F-12AD1DC4EB96}"/>
              </a:ext>
            </a:extLst>
          </p:cNvPr>
          <p:cNvSpPr/>
          <p:nvPr/>
        </p:nvSpPr>
        <p:spPr>
          <a:xfrm>
            <a:off x="4520886" y="568922"/>
            <a:ext cx="3150228" cy="55364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4" name="TextBox 20">
            <a:extLst>
              <a:ext uri="{FF2B5EF4-FFF2-40B4-BE49-F238E27FC236}">
                <a16:creationId xmlns:a16="http://schemas.microsoft.com/office/drawing/2014/main" id="{35E1E6B4-785D-087D-D028-56163561CF2E}"/>
              </a:ext>
            </a:extLst>
          </p:cNvPr>
          <p:cNvSpPr txBox="1"/>
          <p:nvPr/>
        </p:nvSpPr>
        <p:spPr>
          <a:xfrm>
            <a:off x="4471645" y="745980"/>
            <a:ext cx="3206735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3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TRANSFER OF CARE</a:t>
            </a:r>
          </a:p>
        </p:txBody>
      </p:sp>
    </p:spTree>
    <p:extLst>
      <p:ext uri="{BB962C8B-B14F-4D97-AF65-F5344CB8AC3E}">
        <p14:creationId xmlns:p14="http://schemas.microsoft.com/office/powerpoint/2010/main" val="6660858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CFBCE5D-D185-ECFF-F1EC-800E5695FD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>
            <a:extLst>
              <a:ext uri="{FF2B5EF4-FFF2-40B4-BE49-F238E27FC236}">
                <a16:creationId xmlns:a16="http://schemas.microsoft.com/office/drawing/2014/main" id="{389F1026-412E-F4BE-8C7F-7EA22214B802}"/>
              </a:ext>
            </a:extLst>
          </p:cNvPr>
          <p:cNvSpPr/>
          <p:nvPr/>
        </p:nvSpPr>
        <p:spPr>
          <a:xfrm>
            <a:off x="247500" y="244000"/>
            <a:ext cx="11697164" cy="6370000"/>
          </a:xfrm>
          <a:custGeom>
            <a:avLst/>
            <a:gdLst/>
            <a:ahLst/>
            <a:cxnLst/>
            <a:rect l="l" t="t" r="r" b="b"/>
            <a:pathLst>
              <a:path w="17545746" h="9555000">
                <a:moveTo>
                  <a:pt x="0" y="0"/>
                </a:moveTo>
                <a:lnTo>
                  <a:pt x="17545746" y="0"/>
                </a:lnTo>
                <a:lnTo>
                  <a:pt x="17545746" y="9555000"/>
                </a:lnTo>
                <a:lnTo>
                  <a:pt x="0" y="9555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502F7D97-2282-2444-3E3D-1283C5A8A3CD}"/>
              </a:ext>
            </a:extLst>
          </p:cNvPr>
          <p:cNvSpPr txBox="1"/>
          <p:nvPr/>
        </p:nvSpPr>
        <p:spPr>
          <a:xfrm>
            <a:off x="199847" y="638900"/>
            <a:ext cx="11682608" cy="31361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67" b="1" i="0" u="none" strike="noStrike" kern="1200" cap="none" spc="0" normalizeH="0" baseline="0" noProof="0" dirty="0">
                <a:ln>
                  <a:noFill/>
                </a:ln>
                <a:solidFill>
                  <a:srgbClr val="813158"/>
                </a:solidFill>
                <a:effectLst/>
                <a:uLnTx/>
                <a:uFillTx/>
                <a:latin typeface="DM Sans" pitchFamily="2" charset="77"/>
                <a:ea typeface="Helvetica Now Bold"/>
                <a:cs typeface="Helvetica Now Bold"/>
                <a:sym typeface="Helvetica Now Bold"/>
              </a:rPr>
              <a:t>ESSI Bundle documented in discharge summary</a:t>
            </a: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C7DB67F7-B7FC-86CA-399B-E6B65DE3AF84}"/>
              </a:ext>
            </a:extLst>
          </p:cNvPr>
          <p:cNvSpPr txBox="1"/>
          <p:nvPr/>
        </p:nvSpPr>
        <p:spPr>
          <a:xfrm>
            <a:off x="1787665" y="1020977"/>
            <a:ext cx="8506972" cy="2632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20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33" b="0" i="1" u="none" strike="noStrike" kern="1200" cap="none" spc="0" normalizeH="0" baseline="0" noProof="0" dirty="0">
                <a:ln>
                  <a:noFill/>
                </a:ln>
                <a:solidFill>
                  <a:srgbClr val="813158"/>
                </a:solidFill>
                <a:effectLst/>
                <a:uLnTx/>
                <a:uFillTx/>
                <a:latin typeface="DM Sans" pitchFamily="2" charset="77"/>
                <a:ea typeface="Helvetica Now Italics"/>
                <a:cs typeface="Helvetica Now Italics"/>
                <a:sym typeface="Helvetica Now Italics"/>
              </a:rPr>
              <a:t>Percent of charts audited that have an ESSI Bundle in discharge summary</a:t>
            </a:r>
          </a:p>
        </p:txBody>
      </p:sp>
      <p:pic>
        <p:nvPicPr>
          <p:cNvPr id="6" name="Picture 5" descr="A graph with numbers and a line&#10;&#10;AI-generated content may be incorrect.">
            <a:extLst>
              <a:ext uri="{FF2B5EF4-FFF2-40B4-BE49-F238E27FC236}">
                <a16:creationId xmlns:a16="http://schemas.microsoft.com/office/drawing/2014/main" id="{DEA6A39D-9F01-2AEA-FDA7-4D2E4B1E1AD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636"/>
          <a:stretch/>
        </p:blipFill>
        <p:spPr>
          <a:xfrm>
            <a:off x="794409" y="2277923"/>
            <a:ext cx="10603181" cy="3342408"/>
          </a:xfrm>
          <a:prstGeom prst="rect">
            <a:avLst/>
          </a:prstGeom>
        </p:spPr>
      </p:pic>
      <p:sp>
        <p:nvSpPr>
          <p:cNvPr id="8" name="Freeform 19">
            <a:extLst>
              <a:ext uri="{FF2B5EF4-FFF2-40B4-BE49-F238E27FC236}">
                <a16:creationId xmlns:a16="http://schemas.microsoft.com/office/drawing/2014/main" id="{F5B129A7-A82F-94A0-7438-2B7B8D41BD31}"/>
              </a:ext>
            </a:extLst>
          </p:cNvPr>
          <p:cNvSpPr/>
          <p:nvPr/>
        </p:nvSpPr>
        <p:spPr>
          <a:xfrm>
            <a:off x="712049" y="1462436"/>
            <a:ext cx="3150228" cy="55364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9" name="TextBox 20">
            <a:extLst>
              <a:ext uri="{FF2B5EF4-FFF2-40B4-BE49-F238E27FC236}">
                <a16:creationId xmlns:a16="http://schemas.microsoft.com/office/drawing/2014/main" id="{12156AA3-726F-A471-E111-8734AB7651B9}"/>
              </a:ext>
            </a:extLst>
          </p:cNvPr>
          <p:cNvSpPr txBox="1"/>
          <p:nvPr/>
        </p:nvSpPr>
        <p:spPr>
          <a:xfrm>
            <a:off x="662808" y="1639494"/>
            <a:ext cx="3206735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3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TRANSFER OF CA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10B562E-F730-BDCB-DFE0-4B4BF838237A}"/>
              </a:ext>
            </a:extLst>
          </p:cNvPr>
          <p:cNvSpPr txBox="1"/>
          <p:nvPr/>
        </p:nvSpPr>
        <p:spPr>
          <a:xfrm>
            <a:off x="7237709" y="2899854"/>
            <a:ext cx="1224367" cy="7284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22139D-E07C-FF9C-F9F3-DE24611C9A68}"/>
              </a:ext>
            </a:extLst>
          </p:cNvPr>
          <p:cNvSpPr txBox="1"/>
          <p:nvPr/>
        </p:nvSpPr>
        <p:spPr>
          <a:xfrm>
            <a:off x="6868611" y="3623288"/>
            <a:ext cx="7381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M Sans" pitchFamily="2" charset="77"/>
              </a:rPr>
              <a:t>42.91</a:t>
            </a:r>
          </a:p>
        </p:txBody>
      </p:sp>
    </p:spTree>
    <p:extLst>
      <p:ext uri="{BB962C8B-B14F-4D97-AF65-F5344CB8AC3E}">
        <p14:creationId xmlns:p14="http://schemas.microsoft.com/office/powerpoint/2010/main" val="11418423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54">
          <a:extLst>
            <a:ext uri="{FF2B5EF4-FFF2-40B4-BE49-F238E27FC236}">
              <a16:creationId xmlns:a16="http://schemas.microsoft.com/office/drawing/2014/main" id="{D30FE3D3-938F-C0B0-CE6F-D089AC305E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55" name="Google Shape;20655;p11">
            <a:extLst>
              <a:ext uri="{FF2B5EF4-FFF2-40B4-BE49-F238E27FC236}">
                <a16:creationId xmlns:a16="http://schemas.microsoft.com/office/drawing/2014/main" id="{50EB387A-5A5B-7008-D227-CA344C3B101B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20656" name="Google Shape;20656;p11">
            <a:extLst>
              <a:ext uri="{FF2B5EF4-FFF2-40B4-BE49-F238E27FC236}">
                <a16:creationId xmlns:a16="http://schemas.microsoft.com/office/drawing/2014/main" id="{6936E27F-6BEC-C655-3F5E-353BE99DE08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19497"/>
                </a:solidFill>
                <a:effectLst/>
                <a:uLnTx/>
                <a:uFillTx/>
                <a:latin typeface="DM Sans" pitchFamily="2" charset="77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23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919497"/>
              </a:solidFill>
              <a:effectLst/>
              <a:uLnTx/>
              <a:uFillTx/>
              <a:latin typeface="DM Sans" pitchFamily="2" charset="77"/>
              <a:sym typeface="Calibri"/>
            </a:endParaRPr>
          </a:p>
        </p:txBody>
      </p:sp>
      <p:sp>
        <p:nvSpPr>
          <p:cNvPr id="20657" name="Google Shape;20657;p11">
            <a:extLst>
              <a:ext uri="{FF2B5EF4-FFF2-40B4-BE49-F238E27FC236}">
                <a16:creationId xmlns:a16="http://schemas.microsoft.com/office/drawing/2014/main" id="{9F635437-CAC6-4150-6BDD-1DD30855A613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</a:rPr>
              <a:t>Illinois Perinatal Quality Collaborative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20675" name="Google Shape;20675;p11">
            <a:extLst>
              <a:ext uri="{FF2B5EF4-FFF2-40B4-BE49-F238E27FC236}">
                <a16:creationId xmlns:a16="http://schemas.microsoft.com/office/drawing/2014/main" id="{D6F9CB4C-8F0B-5697-C037-0140C43E24B3}"/>
              </a:ext>
            </a:extLst>
          </p:cNvPr>
          <p:cNvSpPr txBox="1"/>
          <p:nvPr/>
        </p:nvSpPr>
        <p:spPr>
          <a:xfrm>
            <a:off x="298855" y="947398"/>
            <a:ext cx="410448" cy="132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999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134"/>
              <a:buFont typeface="Arial"/>
              <a:buNone/>
              <a:tabLst/>
              <a:defRPr/>
            </a:pPr>
            <a:r>
              <a:rPr kumimoji="0" lang="en-US" sz="6134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Arial"/>
                <a:cs typeface="Arial"/>
                <a:sym typeface="Arial"/>
              </a:rPr>
              <a:t>1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 pitchFamily="2" charset="77"/>
              <a:ea typeface="Arial"/>
              <a:cs typeface="Arial"/>
              <a:sym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F46795D-3BD5-F0BF-0ABC-367983750849}"/>
              </a:ext>
            </a:extLst>
          </p:cNvPr>
          <p:cNvGrpSpPr/>
          <p:nvPr/>
        </p:nvGrpSpPr>
        <p:grpSpPr>
          <a:xfrm>
            <a:off x="724189" y="319769"/>
            <a:ext cx="10936114" cy="627629"/>
            <a:chOff x="957031" y="1354604"/>
            <a:chExt cx="10936114" cy="627629"/>
          </a:xfrm>
        </p:grpSpPr>
        <p:sp>
          <p:nvSpPr>
            <p:cNvPr id="20672" name="Google Shape;20672;p11">
              <a:extLst>
                <a:ext uri="{FF2B5EF4-FFF2-40B4-BE49-F238E27FC236}">
                  <a16:creationId xmlns:a16="http://schemas.microsoft.com/office/drawing/2014/main" id="{6AC9DDBC-FE62-FEEC-4CC0-65C3AB085FBF}"/>
                </a:ext>
              </a:extLst>
            </p:cNvPr>
            <p:cNvSpPr/>
            <p:nvPr/>
          </p:nvSpPr>
          <p:spPr>
            <a:xfrm>
              <a:off x="1013670" y="1354604"/>
              <a:ext cx="3150228" cy="627629"/>
            </a:xfrm>
            <a:custGeom>
              <a:avLst/>
              <a:gdLst/>
              <a:ahLst/>
              <a:cxnLst/>
              <a:rect l="l" t="t" r="r" b="b"/>
              <a:pathLst>
                <a:path w="4592821" h="780779" extrusionOk="0">
                  <a:moveTo>
                    <a:pt x="0" y="0"/>
                  </a:moveTo>
                  <a:lnTo>
                    <a:pt x="4592820" y="0"/>
                  </a:lnTo>
                  <a:lnTo>
                    <a:pt x="4592820" y="780779"/>
                  </a:lnTo>
                  <a:lnTo>
                    <a:pt x="0" y="780779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3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73" name="Google Shape;20673;p11">
              <a:extLst>
                <a:ext uri="{FF2B5EF4-FFF2-40B4-BE49-F238E27FC236}">
                  <a16:creationId xmlns:a16="http://schemas.microsoft.com/office/drawing/2014/main" id="{3DA8D593-5AFA-F339-F016-42009ACC533C}"/>
                </a:ext>
              </a:extLst>
            </p:cNvPr>
            <p:cNvSpPr txBox="1"/>
            <p:nvPr/>
          </p:nvSpPr>
          <p:spPr>
            <a:xfrm>
              <a:off x="957031" y="1546458"/>
              <a:ext cx="3206735" cy="35900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33"/>
                <a:buFont typeface="Arial"/>
                <a:buNone/>
                <a:tabLst/>
                <a:defRPr/>
              </a:pPr>
              <a:r>
                <a:rPr kumimoji="0" lang="en-US" sz="233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M Sans" pitchFamily="2" charset="77"/>
                  <a:ea typeface="Arial"/>
                  <a:cs typeface="Arial"/>
                  <a:sym typeface="Arial"/>
                </a:rPr>
                <a:t>TRANSFER OF CARE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679" name="Google Shape;20679;p11">
              <a:extLst>
                <a:ext uri="{FF2B5EF4-FFF2-40B4-BE49-F238E27FC236}">
                  <a16:creationId xmlns:a16="http://schemas.microsoft.com/office/drawing/2014/main" id="{EBEB8562-86AD-7EBD-EE9A-097BAEED3472}"/>
                </a:ext>
              </a:extLst>
            </p:cNvPr>
            <p:cNvSpPr txBox="1"/>
            <p:nvPr/>
          </p:nvSpPr>
          <p:spPr>
            <a:xfrm>
              <a:off x="4435181" y="1533850"/>
              <a:ext cx="7457964" cy="3453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1772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200"/>
                <a:buFont typeface="Arial"/>
                <a:buNone/>
                <a:tabLst/>
                <a:defRPr/>
              </a:pPr>
              <a:r>
                <a: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M Sans" pitchFamily="2" charset="77"/>
                  <a:ea typeface="DM Sans"/>
                  <a:cs typeface="DM Sans"/>
                  <a:sym typeface="DM Sans"/>
                </a:rPr>
                <a:t>Communication to primary care provider completed.</a:t>
              </a:r>
              <a:endParaRPr kumimoji="0" sz="22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DM Sans"/>
                <a:cs typeface="DM Sans"/>
                <a:sym typeface="DM Sans"/>
              </a:endParaRPr>
            </a:p>
          </p:txBody>
        </p:sp>
      </p:grpSp>
      <p:sp>
        <p:nvSpPr>
          <p:cNvPr id="20683" name="Google Shape;20683;p11">
            <a:extLst>
              <a:ext uri="{FF2B5EF4-FFF2-40B4-BE49-F238E27FC236}">
                <a16:creationId xmlns:a16="http://schemas.microsoft.com/office/drawing/2014/main" id="{BC66A39B-1606-0A61-492D-9BF101375336}"/>
              </a:ext>
            </a:extLst>
          </p:cNvPr>
          <p:cNvSpPr txBox="1"/>
          <p:nvPr/>
        </p:nvSpPr>
        <p:spPr>
          <a:xfrm>
            <a:off x="290166" y="2295809"/>
            <a:ext cx="434023" cy="132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999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134"/>
              <a:buFont typeface="Arial"/>
              <a:buNone/>
              <a:tabLst/>
              <a:defRPr/>
            </a:pPr>
            <a:r>
              <a:rPr kumimoji="0" lang="en-US" sz="6134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Arial"/>
                <a:cs typeface="Arial"/>
                <a:sym typeface="Arial"/>
              </a:rPr>
              <a:t>2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D998B4-96EE-1A1B-89CF-ACA9AC0E2655}"/>
              </a:ext>
            </a:extLst>
          </p:cNvPr>
          <p:cNvSpPr txBox="1"/>
          <p:nvPr/>
        </p:nvSpPr>
        <p:spPr>
          <a:xfrm>
            <a:off x="1055080" y="1663035"/>
            <a:ext cx="1114683" cy="400110"/>
          </a:xfrm>
          <a:prstGeom prst="rect">
            <a:avLst/>
          </a:prstGeom>
          <a:solidFill>
            <a:srgbClr val="49CFAF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DM Sans" pitchFamily="2" charset="77"/>
              </a:rPr>
              <a:t>Goal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956AA9-4CD3-AE63-4C4B-9CE49956B7A4}"/>
              </a:ext>
            </a:extLst>
          </p:cNvPr>
          <p:cNvSpPr txBox="1"/>
          <p:nvPr/>
        </p:nvSpPr>
        <p:spPr>
          <a:xfrm>
            <a:off x="6096000" y="1739902"/>
            <a:ext cx="2877329" cy="400110"/>
          </a:xfrm>
          <a:prstGeom prst="rect">
            <a:avLst/>
          </a:prstGeom>
          <a:solidFill>
            <a:srgbClr val="49CFAF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DM Sans" pitchFamily="2" charset="77"/>
              </a:rPr>
              <a:t>Strategies</a:t>
            </a:r>
          </a:p>
        </p:txBody>
      </p:sp>
      <p:pic>
        <p:nvPicPr>
          <p:cNvPr id="2" name="Picture 1" descr="A map pointers on a winding road&#10;&#10;AI-generated content may be incorrect.">
            <a:extLst>
              <a:ext uri="{FF2B5EF4-FFF2-40B4-BE49-F238E27FC236}">
                <a16:creationId xmlns:a16="http://schemas.microsoft.com/office/drawing/2014/main" id="{C1289FB3-A2F6-D48E-60AD-D75B43191D4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69935" y="203129"/>
            <a:ext cx="1282474" cy="12824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C13B965-6138-B972-C5A6-9A6B53AD7102}"/>
              </a:ext>
            </a:extLst>
          </p:cNvPr>
          <p:cNvSpPr txBox="1"/>
          <p:nvPr/>
        </p:nvSpPr>
        <p:spPr>
          <a:xfrm>
            <a:off x="5951349" y="2268978"/>
            <a:ext cx="594179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1800" b="0" dirty="0">
                <a:solidFill>
                  <a:schemeClr val="tx1"/>
                </a:solidFill>
                <a:latin typeface="DM Sans" pitchFamily="2" charset="77"/>
                <a:cs typeface="Calibri" panose="020F0502020204030204" pitchFamily="34" charset="0"/>
              </a:rPr>
              <a:t>Standardized discharge checklist including safe sleep and SDOH screening and resource linkage parental empowerment with </a:t>
            </a:r>
            <a:r>
              <a:rPr lang="en-US" altLang="en-US" sz="1800" dirty="0">
                <a:solidFill>
                  <a:schemeClr val="tx1"/>
                </a:solidFill>
                <a:latin typeface="DM Sans" pitchFamily="2" charset="77"/>
                <a:cs typeface="Calibri" panose="020F0502020204030204" pitchFamily="34" charset="0"/>
              </a:rPr>
              <a:t>“My Baby’s Safe Sleep Plan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1800" b="0" dirty="0">
                <a:solidFill>
                  <a:schemeClr val="tx1"/>
                </a:solidFill>
                <a:latin typeface="DM Sans" pitchFamily="2" charset="77"/>
                <a:cs typeface="Calibri" panose="020F0502020204030204" pitchFamily="34" charset="0"/>
              </a:rPr>
              <a:t>Leveraging the EMR with </a:t>
            </a:r>
            <a:r>
              <a:rPr lang="en-US" altLang="en-US" sz="1800" dirty="0">
                <a:solidFill>
                  <a:schemeClr val="tx1"/>
                </a:solidFill>
                <a:latin typeface="DM Sans" pitchFamily="2" charset="77"/>
                <a:cs typeface="Calibri" panose="020F0502020204030204" pitchFamily="34" charset="0"/>
              </a:rPr>
              <a:t>ESSI Dot Phra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tx1"/>
                </a:solidFill>
                <a:effectLst/>
                <a:latin typeface="DM Sans" pitchFamily="2" charset="77"/>
                <a:ea typeface="Times New Roman" panose="02020603050405020304" pitchFamily="18" charset="0"/>
                <a:cs typeface="Calibri" panose="020F0502020204030204" pitchFamily="34" charset="0"/>
              </a:rPr>
              <a:t>Collaboration with community providers for seamless transi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tx1"/>
                </a:solidFill>
                <a:effectLst/>
                <a:latin typeface="DM Sans" pitchFamily="2" charset="77"/>
                <a:ea typeface="Times New Roman" panose="02020603050405020304" pitchFamily="18" charset="0"/>
                <a:cs typeface="Calibri" panose="020F0502020204030204" pitchFamily="34" charset="0"/>
              </a:rPr>
              <a:t>Telehealth &amp; home visits for high-risk infants</a:t>
            </a:r>
            <a:endParaRPr lang="en-US" sz="1800" b="0" dirty="0">
              <a:solidFill>
                <a:schemeClr val="tx1"/>
              </a:solidFill>
              <a:latin typeface="DM Sans" pitchFamily="2" charset="77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tx1"/>
                </a:solidFill>
                <a:effectLst/>
                <a:latin typeface="DM Sans" pitchFamily="2" charset="77"/>
                <a:ea typeface="Times New Roman" panose="02020603050405020304" pitchFamily="18" charset="0"/>
                <a:cs typeface="Calibri" panose="020F0502020204030204" pitchFamily="34" charset="0"/>
              </a:rPr>
              <a:t>Parental education toolkits with safe sleep and SDOH resources</a:t>
            </a:r>
          </a:p>
          <a:p>
            <a:endParaRPr lang="en-US" dirty="0">
              <a:latin typeface="DM Sans" pitchFamily="2" charset="77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8DF763A-9CBD-92B1-22E5-8063DC519BE9}"/>
              </a:ext>
            </a:extLst>
          </p:cNvPr>
          <p:cNvSpPr txBox="1"/>
          <p:nvPr/>
        </p:nvSpPr>
        <p:spPr>
          <a:xfrm>
            <a:off x="1055080" y="2268977"/>
            <a:ext cx="357991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latin typeface="DM Sans" pitchFamily="2" charset="77"/>
              </a:rPr>
              <a:t>Strengthen documentation of referrals, follow-up, and evolving family needs by fostering partner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DM Sans" pitchFamily="2" charset="77"/>
              </a:rPr>
              <a:t>Equip families with accessible, culturally relevant resources at </a:t>
            </a:r>
            <a:r>
              <a:rPr lang="en-US" b="1" dirty="0">
                <a:latin typeface="DM Sans" pitchFamily="2" charset="77"/>
              </a:rPr>
              <a:t>key points </a:t>
            </a:r>
            <a:r>
              <a:rPr lang="en-US" dirty="0">
                <a:latin typeface="DM Sans" pitchFamily="2" charset="77"/>
              </a:rPr>
              <a:t>of care to support transition</a:t>
            </a:r>
          </a:p>
          <a:p>
            <a:endParaRPr lang="en-US" dirty="0">
              <a:latin typeface="DM Sans" pitchFamily="2" charset="7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0FABE8-523D-5196-D02B-CD5585D81BCD}"/>
              </a:ext>
            </a:extLst>
          </p:cNvPr>
          <p:cNvSpPr txBox="1"/>
          <p:nvPr/>
        </p:nvSpPr>
        <p:spPr>
          <a:xfrm>
            <a:off x="780828" y="5835777"/>
            <a:ext cx="53997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latin typeface="DM Sans" pitchFamily="2" charset="77"/>
              </a:rPr>
              <a:t>ILPQC Transfer of Care Dot Phrase coming soon!</a:t>
            </a:r>
            <a:endParaRPr lang="en-US" dirty="0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016347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54">
          <a:extLst>
            <a:ext uri="{FF2B5EF4-FFF2-40B4-BE49-F238E27FC236}">
              <a16:creationId xmlns:a16="http://schemas.microsoft.com/office/drawing/2014/main" id="{73FBD9BF-EAB2-93D7-BCBE-709CCE0631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55" name="Google Shape;20655;p11">
            <a:extLst>
              <a:ext uri="{FF2B5EF4-FFF2-40B4-BE49-F238E27FC236}">
                <a16:creationId xmlns:a16="http://schemas.microsoft.com/office/drawing/2014/main" id="{CD94ED6E-DC55-2DE3-5DA3-280EB75FCAFA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20656" name="Google Shape;20656;p11">
            <a:extLst>
              <a:ext uri="{FF2B5EF4-FFF2-40B4-BE49-F238E27FC236}">
                <a16:creationId xmlns:a16="http://schemas.microsoft.com/office/drawing/2014/main" id="{7BE78D65-4DF9-1B47-9F73-2AEC71D68BE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19497"/>
                </a:solidFill>
                <a:effectLst/>
                <a:uLnTx/>
                <a:uFillTx/>
                <a:latin typeface="DM Sans" pitchFamily="2" charset="77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24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919497"/>
              </a:solidFill>
              <a:effectLst/>
              <a:uLnTx/>
              <a:uFillTx/>
              <a:latin typeface="DM Sans" pitchFamily="2" charset="77"/>
              <a:sym typeface="Calibri"/>
            </a:endParaRPr>
          </a:p>
        </p:txBody>
      </p:sp>
      <p:sp>
        <p:nvSpPr>
          <p:cNvPr id="20657" name="Google Shape;20657;p11">
            <a:extLst>
              <a:ext uri="{FF2B5EF4-FFF2-40B4-BE49-F238E27FC236}">
                <a16:creationId xmlns:a16="http://schemas.microsoft.com/office/drawing/2014/main" id="{DC591147-1963-4752-A43B-EDE13146A3D7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DM Sans" pitchFamily="2" charset="77"/>
              </a:rPr>
              <a:t>Illinois Perinatal Quality Collaborative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DM Sans" pitchFamily="2" charset="77"/>
            </a:endParaRPr>
          </a:p>
        </p:txBody>
      </p:sp>
      <p:sp>
        <p:nvSpPr>
          <p:cNvPr id="20675" name="Google Shape;20675;p11">
            <a:extLst>
              <a:ext uri="{FF2B5EF4-FFF2-40B4-BE49-F238E27FC236}">
                <a16:creationId xmlns:a16="http://schemas.microsoft.com/office/drawing/2014/main" id="{D00C6F4B-9ED2-3E06-5F47-09CB882DEA18}"/>
              </a:ext>
            </a:extLst>
          </p:cNvPr>
          <p:cNvSpPr txBox="1"/>
          <p:nvPr/>
        </p:nvSpPr>
        <p:spPr>
          <a:xfrm>
            <a:off x="298855" y="947398"/>
            <a:ext cx="410448" cy="132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999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134"/>
              <a:buFont typeface="Arial"/>
              <a:buNone/>
              <a:tabLst/>
              <a:defRPr/>
            </a:pPr>
            <a:r>
              <a:rPr kumimoji="0" lang="en-US" sz="6134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Arial"/>
                <a:cs typeface="Arial"/>
                <a:sym typeface="Arial"/>
              </a:rPr>
              <a:t>1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 pitchFamily="2" charset="77"/>
              <a:ea typeface="Arial"/>
              <a:cs typeface="Arial"/>
              <a:sym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E60C424-9F63-2144-74FE-1E0374E8E3FD}"/>
              </a:ext>
            </a:extLst>
          </p:cNvPr>
          <p:cNvGrpSpPr/>
          <p:nvPr/>
        </p:nvGrpSpPr>
        <p:grpSpPr>
          <a:xfrm>
            <a:off x="724189" y="319769"/>
            <a:ext cx="10936114" cy="627629"/>
            <a:chOff x="957031" y="1354604"/>
            <a:chExt cx="10936114" cy="627629"/>
          </a:xfrm>
        </p:grpSpPr>
        <p:sp>
          <p:nvSpPr>
            <p:cNvPr id="20672" name="Google Shape;20672;p11">
              <a:extLst>
                <a:ext uri="{FF2B5EF4-FFF2-40B4-BE49-F238E27FC236}">
                  <a16:creationId xmlns:a16="http://schemas.microsoft.com/office/drawing/2014/main" id="{A7311D30-E1D4-2036-F0A3-EFFB33831580}"/>
                </a:ext>
              </a:extLst>
            </p:cNvPr>
            <p:cNvSpPr/>
            <p:nvPr/>
          </p:nvSpPr>
          <p:spPr>
            <a:xfrm>
              <a:off x="1013670" y="1354604"/>
              <a:ext cx="3150228" cy="627629"/>
            </a:xfrm>
            <a:custGeom>
              <a:avLst/>
              <a:gdLst/>
              <a:ahLst/>
              <a:cxnLst/>
              <a:rect l="l" t="t" r="r" b="b"/>
              <a:pathLst>
                <a:path w="4592821" h="780779" extrusionOk="0">
                  <a:moveTo>
                    <a:pt x="0" y="0"/>
                  </a:moveTo>
                  <a:lnTo>
                    <a:pt x="4592820" y="0"/>
                  </a:lnTo>
                  <a:lnTo>
                    <a:pt x="4592820" y="780779"/>
                  </a:lnTo>
                  <a:lnTo>
                    <a:pt x="0" y="780779"/>
                  </a:lnTo>
                  <a:lnTo>
                    <a:pt x="0" y="0"/>
                  </a:lnTo>
                  <a:close/>
                </a:path>
              </a:pathLst>
            </a:custGeom>
            <a:blipFill rotWithShape="1">
              <a:blip r:embed="rId3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673" name="Google Shape;20673;p11">
              <a:extLst>
                <a:ext uri="{FF2B5EF4-FFF2-40B4-BE49-F238E27FC236}">
                  <a16:creationId xmlns:a16="http://schemas.microsoft.com/office/drawing/2014/main" id="{502D4F2D-9BCD-1B66-01CE-4B526A371C00}"/>
                </a:ext>
              </a:extLst>
            </p:cNvPr>
            <p:cNvSpPr txBox="1"/>
            <p:nvPr/>
          </p:nvSpPr>
          <p:spPr>
            <a:xfrm>
              <a:off x="957031" y="1546458"/>
              <a:ext cx="3206735" cy="35900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33"/>
                <a:buFont typeface="Arial"/>
                <a:buNone/>
                <a:tabLst/>
                <a:defRPr/>
              </a:pPr>
              <a:r>
                <a:rPr kumimoji="0" lang="en-US" sz="2333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DM Sans" pitchFamily="2" charset="77"/>
                  <a:ea typeface="Arial"/>
                  <a:cs typeface="Arial"/>
                  <a:sym typeface="Arial"/>
                </a:rPr>
                <a:t>TRANSFER OF CARE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M Sans" pitchFamily="2" charset="77"/>
                <a:ea typeface="Arial"/>
                <a:cs typeface="Arial"/>
                <a:sym typeface="Arial"/>
              </a:endParaRPr>
            </a:p>
          </p:txBody>
        </p:sp>
        <p:sp>
          <p:nvSpPr>
            <p:cNvPr id="20679" name="Google Shape;20679;p11">
              <a:extLst>
                <a:ext uri="{FF2B5EF4-FFF2-40B4-BE49-F238E27FC236}">
                  <a16:creationId xmlns:a16="http://schemas.microsoft.com/office/drawing/2014/main" id="{1E4D2510-AF46-9A56-E4A3-7C9BCFC47D8F}"/>
                </a:ext>
              </a:extLst>
            </p:cNvPr>
            <p:cNvSpPr txBox="1"/>
            <p:nvPr/>
          </p:nvSpPr>
          <p:spPr>
            <a:xfrm>
              <a:off x="4435181" y="1533850"/>
              <a:ext cx="7457964" cy="3453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1772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200"/>
                <a:buFont typeface="Arial"/>
                <a:buNone/>
                <a:tabLst/>
                <a:defRPr/>
              </a:pPr>
              <a:r>
                <a: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DM Sans" pitchFamily="2" charset="77"/>
                  <a:ea typeface="DM Sans"/>
                  <a:cs typeface="DM Sans"/>
                  <a:sym typeface="DM Sans"/>
                </a:rPr>
                <a:t>Communication to primary care provider completed.</a:t>
              </a:r>
              <a:endParaRPr kumimoji="0" sz="22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  <a:ea typeface="DM Sans"/>
                <a:cs typeface="DM Sans"/>
                <a:sym typeface="DM Sans"/>
              </a:endParaRPr>
            </a:p>
          </p:txBody>
        </p:sp>
      </p:grpSp>
      <p:sp>
        <p:nvSpPr>
          <p:cNvPr id="20683" name="Google Shape;20683;p11">
            <a:extLst>
              <a:ext uri="{FF2B5EF4-FFF2-40B4-BE49-F238E27FC236}">
                <a16:creationId xmlns:a16="http://schemas.microsoft.com/office/drawing/2014/main" id="{5F960625-7580-D64D-63CF-8AD85B964C0E}"/>
              </a:ext>
            </a:extLst>
          </p:cNvPr>
          <p:cNvSpPr txBox="1"/>
          <p:nvPr/>
        </p:nvSpPr>
        <p:spPr>
          <a:xfrm>
            <a:off x="290166" y="2295809"/>
            <a:ext cx="434023" cy="132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3999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134"/>
              <a:buFont typeface="Arial"/>
              <a:buNone/>
              <a:tabLst/>
              <a:defRPr/>
            </a:pPr>
            <a:r>
              <a:rPr kumimoji="0" lang="en-US" sz="6134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Arial"/>
                <a:cs typeface="Arial"/>
                <a:sym typeface="Arial"/>
              </a:rPr>
              <a:t>2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M Sans" pitchFamily="2" charset="77"/>
              <a:ea typeface="Arial"/>
              <a:cs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7A419CD-F48F-8D9B-D634-C98244704DF6}"/>
              </a:ext>
            </a:extLst>
          </p:cNvPr>
          <p:cNvSpPr txBox="1"/>
          <p:nvPr/>
        </p:nvSpPr>
        <p:spPr>
          <a:xfrm>
            <a:off x="614328" y="1446413"/>
            <a:ext cx="6362873" cy="276998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9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</a:rPr>
              <a:t>ILPQC is excited to announce we are collaborating with the Illinois Chapter of American Academy of Pediatrics (ICAAP) to create a survey to distribute to pediatricians around Illinois.</a:t>
            </a:r>
          </a:p>
        </p:txBody>
      </p:sp>
      <p:pic>
        <p:nvPicPr>
          <p:cNvPr id="8" name="Picture 7" descr="A black and white logo&#10;&#10;AI-generated content may be incorrect.">
            <a:extLst>
              <a:ext uri="{FF2B5EF4-FFF2-40B4-BE49-F238E27FC236}">
                <a16:creationId xmlns:a16="http://schemas.microsoft.com/office/drawing/2014/main" id="{AAC6C5EE-7FD0-A5B8-4E16-B06EF873A9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3616" y="1663035"/>
            <a:ext cx="3313266" cy="1440550"/>
          </a:xfrm>
          <a:prstGeom prst="rect">
            <a:avLst/>
          </a:prstGeom>
        </p:spPr>
      </p:pic>
      <p:sp>
        <p:nvSpPr>
          <p:cNvPr id="5" name="Google Shape;20672;p11">
            <a:extLst>
              <a:ext uri="{FF2B5EF4-FFF2-40B4-BE49-F238E27FC236}">
                <a16:creationId xmlns:a16="http://schemas.microsoft.com/office/drawing/2014/main" id="{5D13EBA5-762A-1890-026A-C402EAB1B480}"/>
              </a:ext>
            </a:extLst>
          </p:cNvPr>
          <p:cNvSpPr/>
          <p:nvPr/>
        </p:nvSpPr>
        <p:spPr>
          <a:xfrm>
            <a:off x="1091885" y="4401602"/>
            <a:ext cx="4673483" cy="627629"/>
          </a:xfrm>
          <a:custGeom>
            <a:avLst/>
            <a:gdLst/>
            <a:ahLst/>
            <a:cxnLst/>
            <a:rect l="l" t="t" r="r" b="b"/>
            <a:pathLst>
              <a:path w="4592821" h="780779" extrusionOk="0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  <a:sym typeface="Calibri"/>
              </a:rPr>
              <a:t>Survey created and will be available to pediatricians soon.</a:t>
            </a:r>
            <a:endParaRPr kumimoji="0" sz="18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3525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BBE2FA-A8E5-61F6-D1E0-08EB1B6799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0AB0B-04DA-0BDA-28E0-AF49530AB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8327" y="2421660"/>
            <a:ext cx="9365380" cy="2014679"/>
          </a:xfrm>
        </p:spPr>
        <p:txBody>
          <a:bodyPr/>
          <a:lstStyle/>
          <a:p>
            <a:r>
              <a:rPr lang="en-US" sz="3200" dirty="0">
                <a:latin typeface="DM Sans" pitchFamily="2" charset="77"/>
              </a:rPr>
              <a:t>Name one thing you think a pediatrician would want to know about individual SDOH screening and linkage to care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505B2EB-9141-8087-A630-08CAD8DD2DE1}"/>
              </a:ext>
            </a:extLst>
          </p:cNvPr>
          <p:cNvSpPr txBox="1">
            <a:spLocks/>
          </p:cNvSpPr>
          <p:nvPr/>
        </p:nvSpPr>
        <p:spPr>
          <a:xfrm>
            <a:off x="1413310" y="2716428"/>
            <a:ext cx="9365380" cy="92919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0" i="1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  <a:cs typeface="Lato Medium" panose="020F050202020403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21C5273-0480-6BC7-086F-172C019CF5B5}"/>
              </a:ext>
            </a:extLst>
          </p:cNvPr>
          <p:cNvSpPr txBox="1">
            <a:spLocks/>
          </p:cNvSpPr>
          <p:nvPr/>
        </p:nvSpPr>
        <p:spPr>
          <a:xfrm>
            <a:off x="7625165" y="5030527"/>
            <a:ext cx="4021429" cy="60567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 sz="3200" i="1" dirty="0">
                <a:latin typeface="DM Sans" pitchFamily="2" charset="77"/>
              </a:rPr>
              <a:t>Drop it in the chat!</a:t>
            </a:r>
          </a:p>
        </p:txBody>
      </p:sp>
    </p:spTree>
    <p:extLst>
      <p:ext uri="{BB962C8B-B14F-4D97-AF65-F5344CB8AC3E}">
        <p14:creationId xmlns:p14="http://schemas.microsoft.com/office/powerpoint/2010/main" val="20635698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D5E9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852A8A-338A-740D-F648-A3FE3192A9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>
            <a:extLst>
              <a:ext uri="{FF2B5EF4-FFF2-40B4-BE49-F238E27FC236}">
                <a16:creationId xmlns:a16="http://schemas.microsoft.com/office/drawing/2014/main" id="{A985729B-D1EF-E64E-D1D2-65320E370DF5}"/>
              </a:ext>
            </a:extLst>
          </p:cNvPr>
          <p:cNvGrpSpPr/>
          <p:nvPr/>
        </p:nvGrpSpPr>
        <p:grpSpPr>
          <a:xfrm>
            <a:off x="-847350" y="151831"/>
            <a:ext cx="13886695" cy="1415771"/>
            <a:chOff x="0" y="0"/>
            <a:chExt cx="5115576" cy="521541"/>
          </a:xfrm>
        </p:grpSpPr>
        <p:sp>
          <p:nvSpPr>
            <p:cNvPr id="3" name="Freeform 3">
              <a:extLst>
                <a:ext uri="{FF2B5EF4-FFF2-40B4-BE49-F238E27FC236}">
                  <a16:creationId xmlns:a16="http://schemas.microsoft.com/office/drawing/2014/main" id="{A7C7F983-E071-AB3B-AF50-CA0155124D03}"/>
                </a:ext>
              </a:extLst>
            </p:cNvPr>
            <p:cNvSpPr/>
            <p:nvPr/>
          </p:nvSpPr>
          <p:spPr>
            <a:xfrm>
              <a:off x="0" y="0"/>
              <a:ext cx="5115577" cy="521541"/>
            </a:xfrm>
            <a:custGeom>
              <a:avLst/>
              <a:gdLst/>
              <a:ahLst/>
              <a:cxnLst/>
              <a:rect l="l" t="t" r="r" b="b"/>
              <a:pathLst>
                <a:path w="5115577" h="521541">
                  <a:moveTo>
                    <a:pt x="13380" y="0"/>
                  </a:moveTo>
                  <a:lnTo>
                    <a:pt x="5102196" y="0"/>
                  </a:lnTo>
                  <a:cubicBezTo>
                    <a:pt x="5105745" y="0"/>
                    <a:pt x="5109148" y="1410"/>
                    <a:pt x="5111657" y="3919"/>
                  </a:cubicBezTo>
                  <a:cubicBezTo>
                    <a:pt x="5114167" y="6428"/>
                    <a:pt x="5115577" y="9832"/>
                    <a:pt x="5115577" y="13380"/>
                  </a:cubicBezTo>
                  <a:lnTo>
                    <a:pt x="5115577" y="508161"/>
                  </a:lnTo>
                  <a:cubicBezTo>
                    <a:pt x="5115577" y="511710"/>
                    <a:pt x="5114167" y="515113"/>
                    <a:pt x="5111657" y="517622"/>
                  </a:cubicBezTo>
                  <a:cubicBezTo>
                    <a:pt x="5109148" y="520132"/>
                    <a:pt x="5105745" y="521541"/>
                    <a:pt x="5102196" y="521541"/>
                  </a:cubicBezTo>
                  <a:lnTo>
                    <a:pt x="13380" y="521541"/>
                  </a:lnTo>
                  <a:cubicBezTo>
                    <a:pt x="9832" y="521541"/>
                    <a:pt x="6428" y="520132"/>
                    <a:pt x="3919" y="517622"/>
                  </a:cubicBezTo>
                  <a:cubicBezTo>
                    <a:pt x="1410" y="515113"/>
                    <a:pt x="0" y="511710"/>
                    <a:pt x="0" y="508161"/>
                  </a:cubicBezTo>
                  <a:lnTo>
                    <a:pt x="0" y="13380"/>
                  </a:lnTo>
                  <a:cubicBezTo>
                    <a:pt x="0" y="9832"/>
                    <a:pt x="1410" y="6428"/>
                    <a:pt x="3919" y="3919"/>
                  </a:cubicBezTo>
                  <a:cubicBezTo>
                    <a:pt x="6428" y="1410"/>
                    <a:pt x="9832" y="0"/>
                    <a:pt x="13380" y="0"/>
                  </a:cubicBezTo>
                  <a:close/>
                </a:path>
              </a:pathLst>
            </a:custGeom>
            <a:solidFill>
              <a:srgbClr val="AF308B"/>
            </a:solidFill>
            <a:ln w="38100" cap="rnd">
              <a:solidFill>
                <a:srgbClr val="000000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" name="TextBox 4">
              <a:extLst>
                <a:ext uri="{FF2B5EF4-FFF2-40B4-BE49-F238E27FC236}">
                  <a16:creationId xmlns:a16="http://schemas.microsoft.com/office/drawing/2014/main" id="{18A865F8-D744-B6F4-ED42-BAB72E1ED606}"/>
                </a:ext>
              </a:extLst>
            </p:cNvPr>
            <p:cNvSpPr txBox="1"/>
            <p:nvPr/>
          </p:nvSpPr>
          <p:spPr>
            <a:xfrm>
              <a:off x="0" y="-323850"/>
              <a:ext cx="5115576" cy="845391"/>
            </a:xfrm>
            <a:prstGeom prst="rect">
              <a:avLst/>
            </a:prstGeom>
          </p:spPr>
          <p:txBody>
            <a:bodyPr lIns="33867" tIns="33867" rIns="33867" bIns="33867" rtlCol="0" anchor="t"/>
            <a:lstStyle/>
            <a:p>
              <a:pPr marL="0" marR="0" lvl="0" indent="0" algn="ctr" defTabSz="609630" rtl="0" eaLnBrk="1" fontAlgn="auto" latinLnBrk="0" hangingPunct="1">
                <a:lnSpc>
                  <a:spcPts val="14001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" name="Group 5">
            <a:extLst>
              <a:ext uri="{FF2B5EF4-FFF2-40B4-BE49-F238E27FC236}">
                <a16:creationId xmlns:a16="http://schemas.microsoft.com/office/drawing/2014/main" id="{3BA46775-8A7D-C9F1-A55F-C0E828C2B8E3}"/>
              </a:ext>
            </a:extLst>
          </p:cNvPr>
          <p:cNvGrpSpPr/>
          <p:nvPr/>
        </p:nvGrpSpPr>
        <p:grpSpPr>
          <a:xfrm>
            <a:off x="1678919" y="742113"/>
            <a:ext cx="8834156" cy="1087440"/>
            <a:chOff x="-1" y="-203820"/>
            <a:chExt cx="3254324" cy="372176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B1F9A884-D574-5432-15A8-9DABD7E20885}"/>
                </a:ext>
              </a:extLst>
            </p:cNvPr>
            <p:cNvSpPr/>
            <p:nvPr/>
          </p:nvSpPr>
          <p:spPr>
            <a:xfrm>
              <a:off x="0" y="-146670"/>
              <a:ext cx="3254323" cy="278470"/>
            </a:xfrm>
            <a:custGeom>
              <a:avLst/>
              <a:gdLst/>
              <a:ahLst/>
              <a:cxnLst/>
              <a:rect l="l" t="t" r="r" b="b"/>
              <a:pathLst>
                <a:path w="3254323" h="358020">
                  <a:moveTo>
                    <a:pt x="29796" y="0"/>
                  </a:moveTo>
                  <a:lnTo>
                    <a:pt x="3224527" y="0"/>
                  </a:lnTo>
                  <a:cubicBezTo>
                    <a:pt x="3240983" y="0"/>
                    <a:pt x="3254323" y="13340"/>
                    <a:pt x="3254323" y="29796"/>
                  </a:cubicBezTo>
                  <a:lnTo>
                    <a:pt x="3254323" y="328224"/>
                  </a:lnTo>
                  <a:cubicBezTo>
                    <a:pt x="3254323" y="336126"/>
                    <a:pt x="3251184" y="343705"/>
                    <a:pt x="3245596" y="349293"/>
                  </a:cubicBezTo>
                  <a:cubicBezTo>
                    <a:pt x="3240008" y="354881"/>
                    <a:pt x="3232430" y="358020"/>
                    <a:pt x="3224527" y="358020"/>
                  </a:cubicBezTo>
                  <a:lnTo>
                    <a:pt x="29796" y="358020"/>
                  </a:lnTo>
                  <a:cubicBezTo>
                    <a:pt x="13340" y="358020"/>
                    <a:pt x="0" y="344680"/>
                    <a:pt x="0" y="328224"/>
                  </a:cubicBezTo>
                  <a:lnTo>
                    <a:pt x="0" y="29796"/>
                  </a:lnTo>
                  <a:cubicBezTo>
                    <a:pt x="0" y="21894"/>
                    <a:pt x="3139" y="14315"/>
                    <a:pt x="8727" y="8727"/>
                  </a:cubicBezTo>
                  <a:cubicBezTo>
                    <a:pt x="14315" y="3139"/>
                    <a:pt x="21894" y="0"/>
                    <a:pt x="29796" y="0"/>
                  </a:cubicBezTo>
                  <a:close/>
                </a:path>
              </a:pathLst>
            </a:custGeom>
            <a:solidFill>
              <a:srgbClr val="FFFFFF"/>
            </a:solidFill>
            <a:ln w="38100" cap="rnd">
              <a:solidFill>
                <a:srgbClr val="000000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TextBox 7">
              <a:extLst>
                <a:ext uri="{FF2B5EF4-FFF2-40B4-BE49-F238E27FC236}">
                  <a16:creationId xmlns:a16="http://schemas.microsoft.com/office/drawing/2014/main" id="{51FA36AD-0EF4-A7D4-D535-97BE97054605}"/>
                </a:ext>
              </a:extLst>
            </p:cNvPr>
            <p:cNvSpPr txBox="1"/>
            <p:nvPr/>
          </p:nvSpPr>
          <p:spPr>
            <a:xfrm>
              <a:off x="-1" y="-203820"/>
              <a:ext cx="3254324" cy="372176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2427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733" dirty="0">
                  <a:solidFill>
                    <a:srgbClr val="000000"/>
                  </a:solidFill>
                  <a:latin typeface="Garet"/>
                  <a:ea typeface="Garet"/>
                  <a:cs typeface="Garet"/>
                  <a:sym typeface="Garet"/>
                </a:rPr>
                <a:t>A </a:t>
              </a:r>
              <a:r>
                <a:rPr kumimoji="0" lang="en-US" sz="1733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et"/>
                  <a:ea typeface="Garet"/>
                  <a:cs typeface="Garet"/>
                  <a:sym typeface="Garet"/>
                </a:rPr>
                <a:t>new way to visualize, track and measure your progress towards QI Excellence.</a:t>
              </a:r>
            </a:p>
          </p:txBody>
        </p:sp>
      </p:grpSp>
      <p:grpSp>
        <p:nvGrpSpPr>
          <p:cNvPr id="11" name="Group 11">
            <a:extLst>
              <a:ext uri="{FF2B5EF4-FFF2-40B4-BE49-F238E27FC236}">
                <a16:creationId xmlns:a16="http://schemas.microsoft.com/office/drawing/2014/main" id="{E3867298-3845-F440-32F7-4A13AF88FB6C}"/>
              </a:ext>
            </a:extLst>
          </p:cNvPr>
          <p:cNvGrpSpPr/>
          <p:nvPr/>
        </p:nvGrpSpPr>
        <p:grpSpPr>
          <a:xfrm>
            <a:off x="173719" y="5365993"/>
            <a:ext cx="3366196" cy="1340176"/>
            <a:chOff x="0" y="-57150"/>
            <a:chExt cx="1337774" cy="303048"/>
          </a:xfrm>
        </p:grpSpPr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425DEC47-387A-E7F8-9290-491BFF49711C}"/>
                </a:ext>
              </a:extLst>
            </p:cNvPr>
            <p:cNvSpPr/>
            <p:nvPr/>
          </p:nvSpPr>
          <p:spPr>
            <a:xfrm>
              <a:off x="0" y="0"/>
              <a:ext cx="1337774" cy="147743"/>
            </a:xfrm>
            <a:custGeom>
              <a:avLst/>
              <a:gdLst/>
              <a:ahLst/>
              <a:cxnLst/>
              <a:rect l="l" t="t" r="r" b="b"/>
              <a:pathLst>
                <a:path w="1337774" h="245898">
                  <a:moveTo>
                    <a:pt x="72484" y="0"/>
                  </a:moveTo>
                  <a:lnTo>
                    <a:pt x="1265290" y="0"/>
                  </a:lnTo>
                  <a:cubicBezTo>
                    <a:pt x="1284514" y="0"/>
                    <a:pt x="1302951" y="7637"/>
                    <a:pt x="1316544" y="21230"/>
                  </a:cubicBezTo>
                  <a:cubicBezTo>
                    <a:pt x="1330137" y="34823"/>
                    <a:pt x="1337774" y="53260"/>
                    <a:pt x="1337774" y="72484"/>
                  </a:cubicBezTo>
                  <a:lnTo>
                    <a:pt x="1337774" y="173414"/>
                  </a:lnTo>
                  <a:cubicBezTo>
                    <a:pt x="1337774" y="192638"/>
                    <a:pt x="1330137" y="211075"/>
                    <a:pt x="1316544" y="224668"/>
                  </a:cubicBezTo>
                  <a:cubicBezTo>
                    <a:pt x="1302951" y="238261"/>
                    <a:pt x="1284514" y="245898"/>
                    <a:pt x="1265290" y="245898"/>
                  </a:cubicBezTo>
                  <a:lnTo>
                    <a:pt x="72484" y="245898"/>
                  </a:lnTo>
                  <a:cubicBezTo>
                    <a:pt x="53260" y="245898"/>
                    <a:pt x="34823" y="238261"/>
                    <a:pt x="21230" y="224668"/>
                  </a:cubicBezTo>
                  <a:cubicBezTo>
                    <a:pt x="7637" y="211075"/>
                    <a:pt x="0" y="192638"/>
                    <a:pt x="0" y="173414"/>
                  </a:cubicBezTo>
                  <a:lnTo>
                    <a:pt x="0" y="72484"/>
                  </a:lnTo>
                  <a:cubicBezTo>
                    <a:pt x="0" y="53260"/>
                    <a:pt x="7637" y="34823"/>
                    <a:pt x="21230" y="21230"/>
                  </a:cubicBezTo>
                  <a:cubicBezTo>
                    <a:pt x="34823" y="7637"/>
                    <a:pt x="53260" y="0"/>
                    <a:pt x="72484" y="0"/>
                  </a:cubicBezTo>
                  <a:close/>
                </a:path>
              </a:pathLst>
            </a:custGeom>
            <a:solidFill>
              <a:srgbClr val="FFFFFF"/>
            </a:solidFill>
            <a:ln w="38100" cap="rnd">
              <a:solidFill>
                <a:srgbClr val="000000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TextBox 13">
              <a:extLst>
                <a:ext uri="{FF2B5EF4-FFF2-40B4-BE49-F238E27FC236}">
                  <a16:creationId xmlns:a16="http://schemas.microsoft.com/office/drawing/2014/main" id="{55006853-11E6-6292-EE2C-FD17341DC0B9}"/>
                </a:ext>
              </a:extLst>
            </p:cNvPr>
            <p:cNvSpPr txBox="1"/>
            <p:nvPr/>
          </p:nvSpPr>
          <p:spPr>
            <a:xfrm>
              <a:off x="0" y="-57150"/>
              <a:ext cx="1337774" cy="303048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2427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33" b="1" i="0" u="sng" strike="noStrike" kern="1200" cap="none" spc="0" normalizeH="0" baseline="0" noProof="0" dirty="0">
                  <a:ln>
                    <a:noFill/>
                  </a:ln>
                  <a:solidFill>
                    <a:srgbClr val="AF308B"/>
                  </a:solidFill>
                  <a:effectLst/>
                  <a:uLnTx/>
                  <a:uFillTx/>
                  <a:latin typeface="Garet Bold"/>
                  <a:ea typeface="Garet Bold"/>
                  <a:cs typeface="Garet Bold"/>
                  <a:sym typeface="Garet Bold"/>
                </a:rPr>
                <a:t>Resources in Progress:</a:t>
              </a:r>
            </a:p>
            <a:p>
              <a:pPr marL="285750" marR="0" lvl="0" indent="-285750" algn="ctr" defTabSz="609630" rtl="0" eaLnBrk="1" fontAlgn="auto" latinLnBrk="0" hangingPunct="1">
                <a:lnSpc>
                  <a:spcPts val="2427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733" dirty="0">
                  <a:solidFill>
                    <a:srgbClr val="AF308B"/>
                  </a:solidFill>
                  <a:latin typeface="Garet Bold"/>
                  <a:ea typeface="Garet Bold"/>
                  <a:cs typeface="Garet Bold"/>
                  <a:sym typeface="Garet Bold"/>
                </a:rPr>
                <a:t>ESSI Dashboard User Guide </a:t>
              </a:r>
              <a:endParaRPr kumimoji="0" lang="en-US" sz="1733" strike="noStrike" kern="1200" cap="none" spc="0" normalizeH="0" baseline="0" noProof="0" dirty="0">
                <a:ln>
                  <a:noFill/>
                </a:ln>
                <a:solidFill>
                  <a:srgbClr val="AF308B"/>
                </a:solidFill>
                <a:effectLst/>
                <a:uLnTx/>
                <a:uFillTx/>
                <a:latin typeface="Garet Bold"/>
                <a:ea typeface="Garet Bold"/>
                <a:cs typeface="Garet Bold"/>
                <a:sym typeface="Garet Bold"/>
              </a:endParaRPr>
            </a:p>
            <a:p>
              <a:pPr marL="285750" marR="0" lvl="0" indent="-285750" algn="ctr" defTabSz="609630" rtl="0" eaLnBrk="1" fontAlgn="auto" latinLnBrk="0" hangingPunct="1">
                <a:lnSpc>
                  <a:spcPts val="2427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733" b="1" i="0" u="sng" strike="noStrike" kern="1200" cap="none" spc="0" normalizeH="0" baseline="0" noProof="0" dirty="0">
                <a:ln>
                  <a:noFill/>
                </a:ln>
                <a:solidFill>
                  <a:srgbClr val="AF308B"/>
                </a:solidFill>
                <a:effectLst/>
                <a:uLnTx/>
                <a:uFillTx/>
                <a:latin typeface="Garet Bold"/>
                <a:ea typeface="Garet Bold"/>
                <a:cs typeface="Garet Bold"/>
                <a:sym typeface="Garet Bold"/>
                <a:hlinkClick r:id="rId2" tooltip="https://northwestern.zoom.us/meeting/register/itt47ArfRrqm-OzCzQO0eg"/>
              </a:endParaRPr>
            </a:p>
          </p:txBody>
        </p:sp>
      </p:grpSp>
      <p:sp>
        <p:nvSpPr>
          <p:cNvPr id="14" name="Freeform 14">
            <a:extLst>
              <a:ext uri="{FF2B5EF4-FFF2-40B4-BE49-F238E27FC236}">
                <a16:creationId xmlns:a16="http://schemas.microsoft.com/office/drawing/2014/main" id="{140F7757-6433-6438-91F6-922C585AF4A1}"/>
              </a:ext>
            </a:extLst>
          </p:cNvPr>
          <p:cNvSpPr/>
          <p:nvPr/>
        </p:nvSpPr>
        <p:spPr>
          <a:xfrm>
            <a:off x="4359158" y="5424177"/>
            <a:ext cx="7534173" cy="653369"/>
          </a:xfrm>
          <a:custGeom>
            <a:avLst/>
            <a:gdLst/>
            <a:ahLst/>
            <a:cxnLst/>
            <a:rect l="l" t="t" r="r" b="b"/>
            <a:pathLst>
              <a:path w="11301259" h="980053">
                <a:moveTo>
                  <a:pt x="0" y="0"/>
                </a:moveTo>
                <a:lnTo>
                  <a:pt x="11301259" y="0"/>
                </a:lnTo>
                <a:lnTo>
                  <a:pt x="11301259" y="980053"/>
                </a:lnTo>
                <a:lnTo>
                  <a:pt x="0" y="980053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Freeform 15">
            <a:extLst>
              <a:ext uri="{FF2B5EF4-FFF2-40B4-BE49-F238E27FC236}">
                <a16:creationId xmlns:a16="http://schemas.microsoft.com/office/drawing/2014/main" id="{71588103-D0F7-EBB0-EA05-035431241590}"/>
              </a:ext>
            </a:extLst>
          </p:cNvPr>
          <p:cNvSpPr/>
          <p:nvPr/>
        </p:nvSpPr>
        <p:spPr>
          <a:xfrm>
            <a:off x="5566422" y="2215257"/>
            <a:ext cx="6231578" cy="2975531"/>
          </a:xfrm>
          <a:custGeom>
            <a:avLst/>
            <a:gdLst/>
            <a:ahLst/>
            <a:cxnLst/>
            <a:rect l="l" t="t" r="r" b="b"/>
            <a:pathLst>
              <a:path w="9347367" h="4463297">
                <a:moveTo>
                  <a:pt x="0" y="0"/>
                </a:moveTo>
                <a:lnTo>
                  <a:pt x="9347367" y="0"/>
                </a:lnTo>
                <a:lnTo>
                  <a:pt x="9347367" y="4463297"/>
                </a:lnTo>
                <a:lnTo>
                  <a:pt x="0" y="4463297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eform 17">
            <a:extLst>
              <a:ext uri="{FF2B5EF4-FFF2-40B4-BE49-F238E27FC236}">
                <a16:creationId xmlns:a16="http://schemas.microsoft.com/office/drawing/2014/main" id="{5A5A920D-BB9A-F6D0-7DEB-E9E90869693D}"/>
              </a:ext>
            </a:extLst>
          </p:cNvPr>
          <p:cNvSpPr/>
          <p:nvPr/>
        </p:nvSpPr>
        <p:spPr>
          <a:xfrm>
            <a:off x="3593807" y="3166636"/>
            <a:ext cx="1807794" cy="1046079"/>
          </a:xfrm>
          <a:custGeom>
            <a:avLst/>
            <a:gdLst/>
            <a:ahLst/>
            <a:cxnLst/>
            <a:rect l="l" t="t" r="r" b="b"/>
            <a:pathLst>
              <a:path w="3970973" h="2611541">
                <a:moveTo>
                  <a:pt x="0" y="0"/>
                </a:moveTo>
                <a:lnTo>
                  <a:pt x="3970973" y="0"/>
                </a:lnTo>
                <a:lnTo>
                  <a:pt x="3970973" y="2611541"/>
                </a:lnTo>
                <a:lnTo>
                  <a:pt x="0" y="2611541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21247645-0AB2-92F6-6BEC-E22D781E5447}"/>
              </a:ext>
            </a:extLst>
          </p:cNvPr>
          <p:cNvSpPr txBox="1"/>
          <p:nvPr/>
        </p:nvSpPr>
        <p:spPr>
          <a:xfrm>
            <a:off x="985860" y="247783"/>
            <a:ext cx="10220273" cy="67403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5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60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aret"/>
                <a:ea typeface="Garet"/>
                <a:cs typeface="Garet"/>
                <a:sym typeface="Garet"/>
              </a:rPr>
              <a:t>ESSI DASHBOARD</a:t>
            </a:r>
          </a:p>
        </p:txBody>
      </p:sp>
      <p:grpSp>
        <p:nvGrpSpPr>
          <p:cNvPr id="22" name="Group 8">
            <a:extLst>
              <a:ext uri="{FF2B5EF4-FFF2-40B4-BE49-F238E27FC236}">
                <a16:creationId xmlns:a16="http://schemas.microsoft.com/office/drawing/2014/main" id="{A8115BF3-8DCC-2CEF-ABDA-72B4AB6936A0}"/>
              </a:ext>
            </a:extLst>
          </p:cNvPr>
          <p:cNvGrpSpPr/>
          <p:nvPr/>
        </p:nvGrpSpPr>
        <p:grpSpPr>
          <a:xfrm>
            <a:off x="62791" y="1899467"/>
            <a:ext cx="3366195" cy="2331841"/>
            <a:chOff x="0" y="14310"/>
            <a:chExt cx="754768" cy="312418"/>
          </a:xfrm>
        </p:grpSpPr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4ACDD833-697C-4CBB-1C05-7C57445E5C94}"/>
                </a:ext>
              </a:extLst>
            </p:cNvPr>
            <p:cNvSpPr/>
            <p:nvPr/>
          </p:nvSpPr>
          <p:spPr>
            <a:xfrm>
              <a:off x="0" y="16769"/>
              <a:ext cx="754768" cy="307468"/>
            </a:xfrm>
            <a:custGeom>
              <a:avLst/>
              <a:gdLst/>
              <a:ahLst/>
              <a:cxnLst/>
              <a:rect l="l" t="t" r="r" b="b"/>
              <a:pathLst>
                <a:path w="754768" h="282265">
                  <a:moveTo>
                    <a:pt x="128472" y="0"/>
                  </a:moveTo>
                  <a:lnTo>
                    <a:pt x="626295" y="0"/>
                  </a:lnTo>
                  <a:cubicBezTo>
                    <a:pt x="660368" y="0"/>
                    <a:pt x="693046" y="13535"/>
                    <a:pt x="717139" y="37629"/>
                  </a:cubicBezTo>
                  <a:cubicBezTo>
                    <a:pt x="741232" y="61722"/>
                    <a:pt x="754768" y="94399"/>
                    <a:pt x="754768" y="128472"/>
                  </a:cubicBezTo>
                  <a:lnTo>
                    <a:pt x="754768" y="153793"/>
                  </a:lnTo>
                  <a:cubicBezTo>
                    <a:pt x="754768" y="187866"/>
                    <a:pt x="741232" y="220543"/>
                    <a:pt x="717139" y="244636"/>
                  </a:cubicBezTo>
                  <a:cubicBezTo>
                    <a:pt x="693046" y="268730"/>
                    <a:pt x="660368" y="282265"/>
                    <a:pt x="626295" y="282265"/>
                  </a:cubicBezTo>
                  <a:lnTo>
                    <a:pt x="128472" y="282265"/>
                  </a:lnTo>
                  <a:cubicBezTo>
                    <a:pt x="94399" y="282265"/>
                    <a:pt x="61722" y="268730"/>
                    <a:pt x="37629" y="244636"/>
                  </a:cubicBezTo>
                  <a:cubicBezTo>
                    <a:pt x="13535" y="220543"/>
                    <a:pt x="0" y="187866"/>
                    <a:pt x="0" y="153793"/>
                  </a:cubicBezTo>
                  <a:lnTo>
                    <a:pt x="0" y="128472"/>
                  </a:lnTo>
                  <a:cubicBezTo>
                    <a:pt x="0" y="94399"/>
                    <a:pt x="13535" y="61722"/>
                    <a:pt x="37629" y="37629"/>
                  </a:cubicBezTo>
                  <a:cubicBezTo>
                    <a:pt x="61722" y="13535"/>
                    <a:pt x="94399" y="0"/>
                    <a:pt x="128472" y="0"/>
                  </a:cubicBezTo>
                  <a:close/>
                </a:path>
              </a:pathLst>
            </a:custGeom>
            <a:solidFill>
              <a:srgbClr val="FFFFFF"/>
            </a:solidFill>
            <a:ln w="38100" cap="rnd">
              <a:solidFill>
                <a:srgbClr val="000000"/>
              </a:solidFill>
              <a:prstDash val="solid"/>
              <a:round/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TextBox 10">
              <a:extLst>
                <a:ext uri="{FF2B5EF4-FFF2-40B4-BE49-F238E27FC236}">
                  <a16:creationId xmlns:a16="http://schemas.microsoft.com/office/drawing/2014/main" id="{44A447B7-92F5-2ED5-4D2F-EAA6A550E481}"/>
                </a:ext>
              </a:extLst>
            </p:cNvPr>
            <p:cNvSpPr txBox="1"/>
            <p:nvPr/>
          </p:nvSpPr>
          <p:spPr>
            <a:xfrm>
              <a:off x="106187" y="14310"/>
              <a:ext cx="592139" cy="312418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r>
                <a:rPr lang="en-US" sz="1300" dirty="0">
                  <a:latin typeface="DM Sans" pitchFamily="2" charset="77"/>
                </a:rPr>
                <a:t>This dashboard was developed to assist ESSI teams in visualizing recent progress on key structural measures in alignment with ESSI’s goals. It serves as a tool to identify current performance and highlight areas for improvement in the pursuit of quality improvement excellence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25B0932-2042-5192-B541-53BCC781BFDD}"/>
              </a:ext>
            </a:extLst>
          </p:cNvPr>
          <p:cNvSpPr txBox="1"/>
          <p:nvPr/>
        </p:nvSpPr>
        <p:spPr>
          <a:xfrm>
            <a:off x="88892" y="6524832"/>
            <a:ext cx="86437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>
                <a:latin typeface="DM Sans" pitchFamily="2" charset="77"/>
              </a:rPr>
              <a:t>Questions on how to access the ESSI Dashboard or what it means? Contact </a:t>
            </a:r>
            <a:r>
              <a:rPr lang="en-US" sz="1400" i="1" dirty="0" err="1">
                <a:latin typeface="DM Sans" pitchFamily="2" charset="77"/>
              </a:rPr>
              <a:t>kmoreno@northshore.org</a:t>
            </a:r>
            <a:endParaRPr lang="en-US" sz="1400" i="1" dirty="0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162373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AAE1FE-1FB4-2FE4-35D9-7EF42E34EF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05D689-8C6B-4CDA-98F0-064268CA4E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>
                <a:latin typeface="DM Sans" pitchFamily="2" charset="77"/>
                <a:ea typeface="Lato Medium"/>
                <a:cs typeface="Lato Medium"/>
              </a:rPr>
              <a:t>Team Talk:</a:t>
            </a:r>
            <a:endParaRPr lang="en-US" sz="4400" dirty="0">
              <a:latin typeface="DM Sans" pitchFamily="2" charset="77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5C44FCC-9220-639C-DF3D-2933F408DE5F}"/>
              </a:ext>
            </a:extLst>
          </p:cNvPr>
          <p:cNvSpPr txBox="1">
            <a:spLocks/>
          </p:cNvSpPr>
          <p:nvPr/>
        </p:nvSpPr>
        <p:spPr>
          <a:xfrm>
            <a:off x="1413310" y="2716428"/>
            <a:ext cx="9365380" cy="92919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 sz="2500" b="0" i="1" dirty="0">
                <a:latin typeface="DM Sans" pitchFamily="2" charset="77"/>
                <a:ea typeface="Lato Medium"/>
                <a:cs typeface="Lato Medium"/>
              </a:rPr>
              <a:t>Northwestern Palos Hospital</a:t>
            </a:r>
          </a:p>
          <a:p>
            <a:r>
              <a:rPr lang="en-US" sz="2500" b="0" i="1" dirty="0">
                <a:latin typeface="DM Sans" pitchFamily="2" charset="77"/>
                <a:cs typeface="Lato Medium"/>
              </a:rPr>
              <a:t>Alexis Vlahos</a:t>
            </a:r>
            <a:endParaRPr lang="en-US" sz="2500" b="0" i="1" dirty="0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468628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D7863-BF82-B74A-275A-23BC58BEA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DM Sans" pitchFamily="2" charset="77"/>
              </a:rPr>
              <a:t>Upcoming Events and Opportunities</a:t>
            </a:r>
          </a:p>
        </p:txBody>
      </p:sp>
    </p:spTree>
    <p:extLst>
      <p:ext uri="{BB962C8B-B14F-4D97-AF65-F5344CB8AC3E}">
        <p14:creationId xmlns:p14="http://schemas.microsoft.com/office/powerpoint/2010/main" val="29472923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738936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latin typeface="DM Sans" pitchFamily="2" charset="77"/>
                <a:ea typeface="Lato Medium"/>
                <a:cs typeface="Lato Medium"/>
              </a:rPr>
              <a:t>Upcoming ESSI Calls</a:t>
            </a:r>
            <a:endParaRPr lang="en-US">
              <a:solidFill>
                <a:srgbClr val="F37150"/>
              </a:solidFill>
              <a:latin typeface="DM Sans" pitchFamily="2" charset="77"/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349F207-60F4-234D-4729-00A6824BBB2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8109972"/>
              </p:ext>
            </p:extLst>
          </p:nvPr>
        </p:nvGraphicFramePr>
        <p:xfrm>
          <a:off x="595223" y="1746850"/>
          <a:ext cx="10972800" cy="45662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>
                  <a:extLst>
                    <a:ext uri="{9D8B030D-6E8A-4147-A177-3AD203B41FA5}">
                      <a16:colId xmlns:a16="http://schemas.microsoft.com/office/drawing/2014/main" val="2818186165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021936841"/>
                    </a:ext>
                  </a:extLst>
                </a:gridCol>
              </a:tblGrid>
              <a:tr h="952500"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DM Sans" pitchFamily="2" charset="77"/>
                        </a:rPr>
                        <a:t>Date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dirty="0">
                          <a:latin typeface="DM Sans" pitchFamily="2" charset="77"/>
                        </a:rPr>
                        <a:t>Topic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940731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May 21 and May 22</a:t>
                      </a:r>
                      <a:r>
                        <a:rPr lang="en-US" sz="2800" b="1" i="0" u="none" strike="noStrike" baseline="300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nd</a:t>
                      </a:r>
                      <a:endParaRPr lang="en-US" sz="2800" b="1" i="0" u="none" strike="noStrike" noProof="0" dirty="0">
                        <a:solidFill>
                          <a:schemeClr val="bg2">
                            <a:lumMod val="10000"/>
                          </a:schemeClr>
                        </a:solidFill>
                        <a:latin typeface="DM Sans" pitchFamily="2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Face-to-Face Conferen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6935563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June 16</a:t>
                      </a:r>
                      <a:r>
                        <a:rPr lang="en-US" sz="2800" b="1" i="0" u="none" strike="noStrike" baseline="300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th</a:t>
                      </a:r>
                      <a:r>
                        <a:rPr lang="en-US" sz="2800" b="1" i="0" u="none" strike="noStrike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,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77"/>
                          <a:ea typeface="+mn-ea"/>
                          <a:cs typeface="+mn-cs"/>
                        </a:rPr>
                        <a:t>Collection of Accurate Race and Ethnicity data</a:t>
                      </a:r>
                      <a:endParaRPr lang="en-US" sz="2800" b="0" i="0" u="none" strike="noStrike" baseline="0" noProof="0" dirty="0">
                        <a:solidFill>
                          <a:schemeClr val="bg2">
                            <a:lumMod val="10000"/>
                          </a:schemeClr>
                        </a:solidFill>
                        <a:latin typeface="DM Sans" pitchFamily="2" charset="7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5977212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July 21</a:t>
                      </a:r>
                      <a:r>
                        <a:rPr lang="en-US" sz="2800" b="1" i="0" u="none" strike="noStrike" baseline="300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st</a:t>
                      </a:r>
                      <a:r>
                        <a:rPr lang="en-US" sz="2800" b="1" i="0" u="none" strike="noStrike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,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77"/>
                          <a:ea typeface="+mn-ea"/>
                          <a:cs typeface="+mn-cs"/>
                        </a:rPr>
                        <a:t>Dissemination of stratified data</a:t>
                      </a:r>
                      <a:endParaRPr lang="en-US" sz="2800" b="0" i="0" u="none" strike="noStrike" baseline="0" noProof="0" dirty="0">
                        <a:solidFill>
                          <a:schemeClr val="bg2">
                            <a:lumMod val="10000"/>
                          </a:schemeClr>
                        </a:solidFill>
                        <a:latin typeface="DM Sans" pitchFamily="2" charset="7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8570136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August 18</a:t>
                      </a:r>
                      <a:r>
                        <a:rPr lang="en-US" sz="2800" b="1" i="0" u="none" strike="noStrike" baseline="30000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th</a:t>
                      </a:r>
                      <a:r>
                        <a:rPr lang="en-US" sz="2800" b="1" i="0" u="none" strike="noStrike" noProof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DM Sans" pitchFamily="2" charset="77"/>
                        </a:rPr>
                        <a:t>, 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DM Sans" pitchFamily="2" charset="77"/>
                          <a:ea typeface="+mn-ea"/>
                          <a:cs typeface="+mn-cs"/>
                        </a:rPr>
                        <a:t>Application of Data to Address Inequities</a:t>
                      </a:r>
                      <a:endParaRPr lang="en-US" sz="2800" b="0" i="0" u="none" strike="noStrike" baseline="0" noProof="0" dirty="0">
                        <a:solidFill>
                          <a:schemeClr val="bg2">
                            <a:lumMod val="10000"/>
                          </a:schemeClr>
                        </a:solidFill>
                        <a:latin typeface="DM Sans" pitchFamily="2" charset="77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32576016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>
                <a:latin typeface="DM Sans" pitchFamily="2" charset="77"/>
              </a:rPr>
              <a:pPr/>
              <a:t>29</a:t>
            </a:fld>
            <a:endParaRPr lang="en-US">
              <a:latin typeface="DM Sa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331585-888F-0107-E78B-CD3615B17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>
                <a:latin typeface="DM Sans" pitchFamily="2" charset="77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17634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424F0-A3EC-200C-FF5A-476B2FCC2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403" y="1870364"/>
            <a:ext cx="10393193" cy="1056138"/>
          </a:xfrm>
        </p:spPr>
        <p:txBody>
          <a:bodyPr/>
          <a:lstStyle/>
          <a:p>
            <a:r>
              <a:rPr lang="en-US" dirty="0">
                <a:latin typeface="DM Sans" pitchFamily="2" charset="77"/>
                <a:ea typeface="Lato Medium"/>
                <a:cs typeface="Lato Medium"/>
              </a:rPr>
              <a:t>Attendance Poll</a:t>
            </a:r>
            <a:endParaRPr lang="en-US" dirty="0">
              <a:latin typeface="DM Sans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AA2794-0DBF-AA34-2B9E-B8E68D10F90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>
                <a:latin typeface="DM Sans" pitchFamily="2" charset="77"/>
              </a:rPr>
              <a:pPr/>
              <a:t>3</a:t>
            </a:fld>
            <a:endParaRPr lang="en-US">
              <a:latin typeface="DM Sa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D005EA-AD31-476F-2A18-07F06873874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 pitchFamily="2" charset="77"/>
              </a:rPr>
              <a:t>Illinois Perinatal Quality Collaborativ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3D324B-6FD4-E2A6-3059-00A40F170403}"/>
              </a:ext>
            </a:extLst>
          </p:cNvPr>
          <p:cNvSpPr txBox="1"/>
          <p:nvPr/>
        </p:nvSpPr>
        <p:spPr>
          <a:xfrm>
            <a:off x="901260" y="3646752"/>
            <a:ext cx="10801926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i="1" dirty="0">
                <a:latin typeface="DM Sans" pitchFamily="2" charset="77"/>
                <a:ea typeface="Calibri"/>
                <a:cs typeface="Calibri"/>
              </a:rPr>
              <a:t>Please fill out the poll so that we can track hospital team attendance for ESSI Webinars. If unable to complete poll, please email kmoreno@northshore.org</a:t>
            </a:r>
            <a:endParaRPr lang="en-US" sz="2200" i="1" dirty="0"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7654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yellow and black invitation&#10;&#10;Description automatically generated">
            <a:extLst>
              <a:ext uri="{FF2B5EF4-FFF2-40B4-BE49-F238E27FC236}">
                <a16:creationId xmlns:a16="http://schemas.microsoft.com/office/drawing/2014/main" id="{E3D38A0E-FA24-C076-B809-A0594ACEA49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9680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55BE1E-6228-A578-FD09-DE131E21DB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5C4174-F803-FECF-43C6-0DCEBB40A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DM Sans" pitchFamily="2" charset="77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0258985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60A4C-E21D-50DB-2691-10DE27BA4F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8C0BD-D049-1C86-DF1B-B46B4EFF2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403" y="1410586"/>
            <a:ext cx="10393193" cy="2014679"/>
          </a:xfrm>
        </p:spPr>
        <p:txBody>
          <a:bodyPr/>
          <a:lstStyle/>
          <a:p>
            <a:r>
              <a:rPr lang="en-US" dirty="0">
                <a:latin typeface="DM Sans" pitchFamily="2" charset="77"/>
              </a:rPr>
              <a:t>Face-to-Face Logistics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8E9428-4C73-BAE7-AD79-FD98F682AC0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EF4285-4715-1E06-84D4-25C815EB7D82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77498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367">
          <a:extLst>
            <a:ext uri="{FF2B5EF4-FFF2-40B4-BE49-F238E27FC236}">
              <a16:creationId xmlns:a16="http://schemas.microsoft.com/office/drawing/2014/main" id="{2F77DE50-4A74-5C39-14B5-FAE5FB8F8D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3E3473E-9C23-1217-64E3-145ADB68C3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0199" y="209943"/>
            <a:ext cx="8609001" cy="403207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pic>
      <p:sp>
        <p:nvSpPr>
          <p:cNvPr id="370" name="Google Shape;370;p16">
            <a:extLst>
              <a:ext uri="{FF2B5EF4-FFF2-40B4-BE49-F238E27FC236}">
                <a16:creationId xmlns:a16="http://schemas.microsoft.com/office/drawing/2014/main" id="{C637D0F9-7C3B-AA19-3122-2EE52308F974}"/>
              </a:ext>
            </a:extLst>
          </p:cNvPr>
          <p:cNvSpPr txBox="1">
            <a:spLocks noGrp="1"/>
          </p:cNvSpPr>
          <p:nvPr>
            <p:ph type="sldNum" sz="quarter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M Sans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EB3B7"/>
                </a:buClr>
                <a:buSzPts val="1200"/>
                <a:buFont typeface="Calibri"/>
                <a:buNone/>
                <a:tabLst/>
                <a:defRPr/>
              </a:pPr>
              <a:t>5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DM Sans" pitchFamily="2" charset="77"/>
              <a:ea typeface="Calibri"/>
              <a:cs typeface="Calibri"/>
              <a:sym typeface="Calib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30B4F8E-EF80-53B3-DFB8-DC993C4D6990}"/>
              </a:ext>
            </a:extLst>
          </p:cNvPr>
          <p:cNvSpPr txBox="1"/>
          <p:nvPr/>
        </p:nvSpPr>
        <p:spPr>
          <a:xfrm>
            <a:off x="1685110" y="5507308"/>
            <a:ext cx="10590974" cy="12926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Make sure at least one </a:t>
            </a:r>
            <a:r>
              <a:rPr kumimoji="0" lang="en-US" sz="2600" b="1" i="1" u="none" strike="noStrike" kern="1200" cap="none" spc="0" normalizeH="0" baseline="0" noProof="0" dirty="0">
                <a:ln>
                  <a:noFill/>
                </a:ln>
                <a:solidFill>
                  <a:srgbClr val="F3F6FB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physician champion,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one</a:t>
            </a:r>
            <a:r>
              <a:rPr kumimoji="0" lang="en-US" sz="2600" b="1" i="1" u="none" strike="noStrike" kern="1200" cap="none" spc="0" normalizeH="0" baseline="0" noProof="0" dirty="0">
                <a:ln>
                  <a:noFill/>
                </a:ln>
                <a:solidFill>
                  <a:srgbClr val="F3F6FB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 nurse champion,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and a </a:t>
            </a:r>
            <a:r>
              <a:rPr kumimoji="0" lang="en-US" sz="2600" b="1" i="1" u="none" strike="noStrike" kern="1200" cap="none" spc="0" normalizeH="0" baseline="0" noProof="0" dirty="0">
                <a:ln>
                  <a:noFill/>
                </a:ln>
                <a:solidFill>
                  <a:srgbClr val="F3F6FB"/>
                </a:solidFill>
                <a:effectLst/>
                <a:uLnTx/>
                <a:uFillTx/>
                <a:latin typeface="DM Sans" pitchFamily="2" charset="77"/>
                <a:ea typeface="Calibri"/>
                <a:cs typeface="Calibri"/>
              </a:rPr>
              <a:t>patient partner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DM Sans" pitchFamily="2" charset="77"/>
                <a:ea typeface="Lato Medium"/>
                <a:cs typeface="Lato Medium"/>
              </a:rPr>
              <a:t>attend to represent your hospital.  </a:t>
            </a:r>
          </a:p>
        </p:txBody>
      </p:sp>
      <p:sp>
        <p:nvSpPr>
          <p:cNvPr id="23" name="Rectangle 1">
            <a:extLst>
              <a:ext uri="{FF2B5EF4-FFF2-40B4-BE49-F238E27FC236}">
                <a16:creationId xmlns:a16="http://schemas.microsoft.com/office/drawing/2014/main" id="{267E74D7-9B66-EF48-D6F0-6A02D322ED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331C1F18-E084-5598-CE79-F7275017E16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008" y="5878286"/>
            <a:ext cx="2020136" cy="97971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2307401-76DF-31E7-3EA6-F5A4EFA14F0F}"/>
              </a:ext>
            </a:extLst>
          </p:cNvPr>
          <p:cNvSpPr txBox="1"/>
          <p:nvPr/>
        </p:nvSpPr>
        <p:spPr>
          <a:xfrm>
            <a:off x="598455" y="2181735"/>
            <a:ext cx="2241319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</a:rPr>
              <a:t>Time: 9 am – 4 p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DM Sans" pitchFamily="2" charset="77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DM Sans" pitchFamily="2" charset="77"/>
              </a:rPr>
              <a:t>Time: 9 am – 3:45 p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3B3D73-F3DA-75E8-904C-7FC54F57815F}"/>
              </a:ext>
            </a:extLst>
          </p:cNvPr>
          <p:cNvSpPr txBox="1"/>
          <p:nvPr/>
        </p:nvSpPr>
        <p:spPr>
          <a:xfrm>
            <a:off x="9341080" y="1579648"/>
            <a:ext cx="2241320" cy="129266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i="1" dirty="0">
                <a:solidFill>
                  <a:srgbClr val="1C498B"/>
                </a:solidFill>
                <a:latin typeface="DM Sans" pitchFamily="2" charset="77"/>
                <a:ea typeface="Lato Medium"/>
                <a:cs typeface="Lato Medium"/>
              </a:rPr>
              <a:t>There’s still space, </a:t>
            </a:r>
            <a:r>
              <a:rPr lang="en-US" sz="2600" b="1" i="1" dirty="0">
                <a:solidFill>
                  <a:srgbClr val="1C498B"/>
                </a:solidFill>
                <a:highlight>
                  <a:srgbClr val="FFFF00"/>
                </a:highlight>
                <a:latin typeface="DM Sans" pitchFamily="2" charset="77"/>
                <a:ea typeface="Lato Medium"/>
                <a:cs typeface="Lato Medium"/>
              </a:rPr>
              <a:t>act now!</a:t>
            </a:r>
            <a:endParaRPr kumimoji="0" lang="en-US" sz="2600" b="1" i="1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highlight>
                <a:srgbClr val="FFFF00"/>
              </a:highlight>
              <a:uLnTx/>
              <a:uFillTx/>
              <a:latin typeface="DM Sans" pitchFamily="2" charset="77"/>
              <a:ea typeface="Lato Medium"/>
              <a:cs typeface="Lato Medium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14288E-572E-7147-91E6-69AE64FDC157}"/>
              </a:ext>
            </a:extLst>
          </p:cNvPr>
          <p:cNvSpPr txBox="1"/>
          <p:nvPr/>
        </p:nvSpPr>
        <p:spPr>
          <a:xfrm>
            <a:off x="2839774" y="4671587"/>
            <a:ext cx="7807535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i="1" dirty="0">
                <a:solidFill>
                  <a:srgbClr val="1C498B"/>
                </a:solidFill>
                <a:latin typeface="DM Sans" pitchFamily="2" charset="77"/>
                <a:ea typeface="Lato Medium"/>
                <a:cs typeface="Lato Medium"/>
              </a:rPr>
              <a:t>Over 250 registrants each day!</a:t>
            </a:r>
            <a:endParaRPr kumimoji="0" lang="en-US" sz="2600" b="1" i="1" u="none" strike="noStrike" kern="1200" cap="none" spc="0" normalizeH="0" baseline="0" noProof="0" dirty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DM Sans" pitchFamily="2" charset="77"/>
              <a:ea typeface="Lato Medium"/>
              <a:cs typeface="La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37629920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367">
          <a:extLst>
            <a:ext uri="{FF2B5EF4-FFF2-40B4-BE49-F238E27FC236}">
              <a16:creationId xmlns:a16="http://schemas.microsoft.com/office/drawing/2014/main" id="{D8F5F390-BC92-5181-78CF-1E76240C4C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16">
            <a:extLst>
              <a:ext uri="{FF2B5EF4-FFF2-40B4-BE49-F238E27FC236}">
                <a16:creationId xmlns:a16="http://schemas.microsoft.com/office/drawing/2014/main" id="{F1121D69-3640-C836-B559-8A570716C03D}"/>
              </a:ext>
            </a:extLst>
          </p:cNvPr>
          <p:cNvSpPr txBox="1">
            <a:spLocks noGrp="1"/>
          </p:cNvSpPr>
          <p:nvPr>
            <p:ph type="sldNum" sz="quarter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EB3B7"/>
                </a:buClr>
                <a:buSzPts val="1200"/>
                <a:buFont typeface="Calibri"/>
                <a:buNone/>
                <a:tabLst/>
                <a:defRPr/>
              </a:pPr>
              <a:t>6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8" name="Google Shape;368;p16">
            <a:extLst>
              <a:ext uri="{FF2B5EF4-FFF2-40B4-BE49-F238E27FC236}">
                <a16:creationId xmlns:a16="http://schemas.microsoft.com/office/drawing/2014/main" id="{6B2126EF-F47A-3C34-AB8E-D8E2E37856D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791500" y="209943"/>
            <a:ext cx="8609000" cy="1461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3500" i="1" dirty="0">
                <a:latin typeface="DM Sans" pitchFamily="2" charset="77"/>
                <a:ea typeface="Lato Medium"/>
                <a:cs typeface="Lato Medium"/>
              </a:rPr>
              <a:t>A Note on Hotels</a:t>
            </a:r>
            <a:endParaRPr lang="en-US" sz="3500" i="1" dirty="0">
              <a:highlight>
                <a:srgbClr val="FFFF00"/>
              </a:highlight>
              <a:latin typeface="DM Sans" pitchFamily="2" charset="77"/>
              <a:ea typeface="Lato Medium"/>
              <a:cs typeface="Lato Medium"/>
            </a:endParaRPr>
          </a:p>
        </p:txBody>
      </p:sp>
      <p:sp>
        <p:nvSpPr>
          <p:cNvPr id="23" name="Rectangle 1">
            <a:extLst>
              <a:ext uri="{FF2B5EF4-FFF2-40B4-BE49-F238E27FC236}">
                <a16:creationId xmlns:a16="http://schemas.microsoft.com/office/drawing/2014/main" id="{EE42F968-5F5C-4CA2-E225-5879796324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Google Shape;368;p16">
            <a:extLst>
              <a:ext uri="{FF2B5EF4-FFF2-40B4-BE49-F238E27FC236}">
                <a16:creationId xmlns:a16="http://schemas.microsoft.com/office/drawing/2014/main" id="{7960CCA3-8A2E-9118-7D89-B7FEC3BC5BB6}"/>
              </a:ext>
            </a:extLst>
          </p:cNvPr>
          <p:cNvSpPr txBox="1">
            <a:spLocks/>
          </p:cNvSpPr>
          <p:nvPr/>
        </p:nvSpPr>
        <p:spPr>
          <a:xfrm>
            <a:off x="444137" y="1236036"/>
            <a:ext cx="11138263" cy="146197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3500" dirty="0">
                <a:latin typeface="DM Sans" pitchFamily="2" charset="77"/>
                <a:ea typeface="Lato Medium"/>
                <a:cs typeface="Lato Medium"/>
              </a:rPr>
              <a:t>Hotel rooms are </a:t>
            </a:r>
            <a:r>
              <a:rPr lang="en-US" sz="3500" dirty="0">
                <a:highlight>
                  <a:srgbClr val="FFFF00"/>
                </a:highlight>
                <a:latin typeface="DM Sans" pitchFamily="2" charset="77"/>
                <a:ea typeface="Lato Medium"/>
                <a:cs typeface="Lato Medium"/>
              </a:rPr>
              <a:t>SOLD OUT</a:t>
            </a:r>
            <a:r>
              <a:rPr lang="en-US" sz="3500" dirty="0">
                <a:latin typeface="DM Sans" pitchFamily="2" charset="77"/>
                <a:ea typeface="Lato Medium"/>
                <a:cs typeface="Lato Medium"/>
              </a:rPr>
              <a:t>. ILPQC has compiled a list of nearby hotels and contact information. </a:t>
            </a:r>
          </a:p>
        </p:txBody>
      </p:sp>
      <p:sp>
        <p:nvSpPr>
          <p:cNvPr id="2" name="Google Shape;368;p16">
            <a:extLst>
              <a:ext uri="{FF2B5EF4-FFF2-40B4-BE49-F238E27FC236}">
                <a16:creationId xmlns:a16="http://schemas.microsoft.com/office/drawing/2014/main" id="{B114F5DC-DFB5-852F-D857-4A1E3FCD03D2}"/>
              </a:ext>
            </a:extLst>
          </p:cNvPr>
          <p:cNvSpPr txBox="1">
            <a:spLocks/>
          </p:cNvSpPr>
          <p:nvPr/>
        </p:nvSpPr>
        <p:spPr>
          <a:xfrm>
            <a:off x="526868" y="2698012"/>
            <a:ext cx="11138263" cy="146197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2800" dirty="0">
                <a:latin typeface="DM Sans" pitchFamily="2" charset="77"/>
                <a:ea typeface="Lato Medium"/>
                <a:cs typeface="Lato Medium"/>
              </a:rPr>
              <a:t>Please check out our “Events” Page for more information.</a:t>
            </a:r>
          </a:p>
        </p:txBody>
      </p:sp>
      <p:pic>
        <p:nvPicPr>
          <p:cNvPr id="5" name="Picture 4" descr="A close up of a screen&#10;&#10;AI-generated content may be incorrect.">
            <a:extLst>
              <a:ext uri="{FF2B5EF4-FFF2-40B4-BE49-F238E27FC236}">
                <a16:creationId xmlns:a16="http://schemas.microsoft.com/office/drawing/2014/main" id="{AE5CC60A-7BFB-E144-0150-75994EA7A51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035" y="4262034"/>
            <a:ext cx="10478365" cy="2149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4335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9DE373-B867-CA99-434C-8D6E0DCFBF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35D6EC1F-52BB-3267-F8E1-00C19602A77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5042" y="2755226"/>
            <a:ext cx="2256152" cy="219520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95016C-0314-E283-7626-60E023B8A1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46">
              <a:defRPr/>
            </a:pPr>
            <a:fld id="{97033E4B-E3EB-3D46-B2D8-3159663620FA}" type="slidenum">
              <a:rPr lang="en-US">
                <a:solidFill>
                  <a:srgbClr val="444C55">
                    <a:tint val="75000"/>
                  </a:srgbClr>
                </a:solidFill>
                <a:latin typeface="DM Sans" pitchFamily="2" charset="77"/>
              </a:rPr>
              <a:pPr defTabSz="914446">
                <a:defRPr/>
              </a:pPr>
              <a:t>7</a:t>
            </a:fld>
            <a:endParaRPr lang="en-US">
              <a:solidFill>
                <a:srgbClr val="444C55">
                  <a:tint val="75000"/>
                </a:srgbClr>
              </a:solidFill>
              <a:latin typeface="DM Sans" pitchFamily="2" charset="77"/>
            </a:endParaRPr>
          </a:p>
        </p:txBody>
      </p:sp>
      <p:sp>
        <p:nvSpPr>
          <p:cNvPr id="8" name="Google Shape;368;p16">
            <a:extLst>
              <a:ext uri="{FF2B5EF4-FFF2-40B4-BE49-F238E27FC236}">
                <a16:creationId xmlns:a16="http://schemas.microsoft.com/office/drawing/2014/main" id="{8AE6EF2C-31EB-0B79-212A-F4A007ED2DA5}"/>
              </a:ext>
            </a:extLst>
          </p:cNvPr>
          <p:cNvSpPr txBox="1">
            <a:spLocks/>
          </p:cNvSpPr>
          <p:nvPr/>
        </p:nvSpPr>
        <p:spPr>
          <a:xfrm>
            <a:off x="6468291" y="807044"/>
            <a:ext cx="5531911" cy="486156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342917" indent="-342917" algn="ctr" defTabSz="914446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defRPr/>
            </a:pPr>
            <a:r>
              <a:rPr lang="en-US" sz="1933" dirty="0">
                <a:solidFill>
                  <a:srgbClr val="FFFFFF"/>
                </a:solidFill>
                <a:latin typeface="DM Sans" pitchFamily="2" charset="77"/>
                <a:ea typeface="Lato Medium"/>
                <a:cs typeface="Lato Medium"/>
              </a:rPr>
              <a:t>Each ILPQC hospital can send 1 bedside nurse to each day of event.</a:t>
            </a:r>
          </a:p>
          <a:p>
            <a:pPr marL="342917" indent="-342917" algn="ctr" defTabSz="914446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defRPr/>
            </a:pPr>
            <a:r>
              <a:rPr lang="en-US" sz="1933" dirty="0">
                <a:solidFill>
                  <a:srgbClr val="FFFFFF"/>
                </a:solidFill>
                <a:latin typeface="DM Sans" pitchFamily="2" charset="77"/>
                <a:ea typeface="Lato Medium"/>
                <a:cs typeface="Lato Medium"/>
              </a:rPr>
              <a:t>Opportunity to introduce NEW nurses to ILPQC and QI.</a:t>
            </a:r>
          </a:p>
          <a:p>
            <a:pPr marL="342917" indent="-342917" algn="ctr" defTabSz="914446">
              <a:lnSpc>
                <a:spcPct val="150000"/>
              </a:lnSpc>
              <a:spcBef>
                <a:spcPts val="0"/>
              </a:spcBef>
              <a:buClr>
                <a:srgbClr val="1C498B"/>
              </a:buClr>
              <a:buSzPts val="4000"/>
              <a:buFont typeface="Arial" panose="020B0604020202020204" pitchFamily="34" charset="0"/>
              <a:buChar char="•"/>
              <a:defRPr/>
            </a:pPr>
            <a:r>
              <a:rPr lang="en-US" sz="1933" dirty="0">
                <a:solidFill>
                  <a:srgbClr val="FFFFFF"/>
                </a:solidFill>
                <a:latin typeface="DM Sans" pitchFamily="2" charset="77"/>
                <a:ea typeface="Lato Medium"/>
                <a:cs typeface="Lato Medium"/>
              </a:rPr>
              <a:t>Discounted registration &amp; 1-night hotel stay provided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7DB905C-EF3F-5BF5-8A5A-B4649A536D12}"/>
              </a:ext>
            </a:extLst>
          </p:cNvPr>
          <p:cNvSpPr txBox="1">
            <a:spLocks/>
          </p:cNvSpPr>
          <p:nvPr/>
        </p:nvSpPr>
        <p:spPr>
          <a:xfrm>
            <a:off x="333704" y="195392"/>
            <a:ext cx="6528391" cy="1228335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446">
              <a:lnSpc>
                <a:spcPct val="90000"/>
              </a:lnSpc>
              <a:defRPr/>
            </a:pPr>
            <a:r>
              <a:rPr lang="en-US" sz="4200" dirty="0">
                <a:solidFill>
                  <a:srgbClr val="F58366"/>
                </a:solidFill>
                <a:latin typeface="DM Sans" pitchFamily="2" charset="77"/>
                <a:ea typeface="Lato Medium"/>
                <a:cs typeface="Lato Medium"/>
              </a:rPr>
              <a:t>ILPQC/DHS Bedside Nurse Scholarship</a:t>
            </a:r>
            <a:endParaRPr lang="en-US" sz="4200" dirty="0">
              <a:solidFill>
                <a:srgbClr val="FFFFFF"/>
              </a:solidFill>
              <a:latin typeface="DM Sans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7B3FBF-BF1A-4ED3-8CA5-41DBB6CB0AB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08687" y="4504789"/>
            <a:ext cx="2953408" cy="247518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849568C-DAEF-1DEE-6C09-2611324B365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5417" y="3382257"/>
            <a:ext cx="2953408" cy="342900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7F6AC8D-2931-4A3E-5B63-5AAEBD7F4C8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57754" y="1423727"/>
            <a:ext cx="2036434" cy="241920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D065EB-88E5-AC71-CB20-B51D255C6E1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8605" y="1919269"/>
            <a:ext cx="2192935" cy="238375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F14391A-7664-738F-3269-C13032BE2EF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43204" y="3433192"/>
            <a:ext cx="1975652" cy="292315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F061182-AC3B-561E-54D9-C2DCC727918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23524" y="1829487"/>
            <a:ext cx="1644984" cy="241920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6EBA12-97BE-D893-77B8-442D5137839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8008" y="4035372"/>
            <a:ext cx="1744206" cy="238307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D43F93E-D690-9DBC-E442-E91A08384F4B}"/>
              </a:ext>
            </a:extLst>
          </p:cNvPr>
          <p:cNvSpPr txBox="1">
            <a:spLocks/>
          </p:cNvSpPr>
          <p:nvPr/>
        </p:nvSpPr>
        <p:spPr>
          <a:xfrm>
            <a:off x="6981037" y="5459996"/>
            <a:ext cx="4922311" cy="1181921"/>
          </a:xfrm>
          <a:prstGeom prst="rect">
            <a:avLst/>
          </a:prstGeom>
          <a:solidFill>
            <a:schemeClr val="bg1"/>
          </a:solidFill>
        </p:spPr>
        <p:txBody>
          <a:bodyPr lIns="91440" tIns="45720" rIns="91440" bIns="45720" anchor="b">
            <a:normAutofit fontScale="750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defTabSz="914446">
              <a:lnSpc>
                <a:spcPct val="90000"/>
              </a:lnSpc>
              <a:defRPr/>
            </a:pPr>
            <a:r>
              <a:rPr lang="en-US" sz="4200" dirty="0">
                <a:solidFill>
                  <a:srgbClr val="F58366"/>
                </a:solidFill>
                <a:latin typeface="DM Sans" pitchFamily="2" charset="77"/>
                <a:cs typeface="Lato Medium"/>
              </a:rPr>
              <a:t>Over 50 nurse scholarship recipients for each day!</a:t>
            </a:r>
            <a:endParaRPr lang="en-US" sz="4200" dirty="0">
              <a:solidFill>
                <a:srgbClr val="FFFFFF"/>
              </a:solidFill>
              <a:latin typeface="DM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851710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079C3A-CFD2-4AE2-9FA8-60031AE793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C04E3B-D0A1-2CFB-665D-0F08C7A47F70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A00EC6-EDBA-818A-7740-F751A5AB8F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DM Sans" pitchFamily="2" charset="77"/>
              <a:ea typeface="+mn-ea"/>
              <a:cs typeface="+mn-cs"/>
            </a:endParaRPr>
          </a:p>
        </p:txBody>
      </p:sp>
      <p:sp>
        <p:nvSpPr>
          <p:cNvPr id="26" name="TextBox 15">
            <a:extLst>
              <a:ext uri="{FF2B5EF4-FFF2-40B4-BE49-F238E27FC236}">
                <a16:creationId xmlns:a16="http://schemas.microsoft.com/office/drawing/2014/main" id="{0B31DADA-BE89-E739-9D9C-5D21C5B8A504}"/>
              </a:ext>
            </a:extLst>
          </p:cNvPr>
          <p:cNvSpPr txBox="1"/>
          <p:nvPr/>
        </p:nvSpPr>
        <p:spPr>
          <a:xfrm>
            <a:off x="992051" y="1158360"/>
            <a:ext cx="10796527" cy="6537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5C6D228D-3646-2A73-E025-3432DD6EB631}"/>
              </a:ext>
            </a:extLst>
          </p:cNvPr>
          <p:cNvSpPr txBox="1"/>
          <p:nvPr/>
        </p:nvSpPr>
        <p:spPr>
          <a:xfrm>
            <a:off x="709303" y="1251367"/>
            <a:ext cx="3206735" cy="3066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3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TRANSFER OF CARE</a:t>
            </a:r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A22E55FC-DC55-24A9-6495-479F18BB7E04}"/>
              </a:ext>
            </a:extLst>
          </p:cNvPr>
          <p:cNvSpPr txBox="1"/>
          <p:nvPr/>
        </p:nvSpPr>
        <p:spPr>
          <a:xfrm>
            <a:off x="298855" y="947398"/>
            <a:ext cx="410448" cy="10518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85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134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1</a:t>
            </a:r>
          </a:p>
        </p:txBody>
      </p:sp>
      <p:pic>
        <p:nvPicPr>
          <p:cNvPr id="3" name="Picture 2" descr="A screenshot of a calendar&#10;&#10;AI-generated content may be incorrect.">
            <a:extLst>
              <a:ext uri="{FF2B5EF4-FFF2-40B4-BE49-F238E27FC236}">
                <a16:creationId xmlns:a16="http://schemas.microsoft.com/office/drawing/2014/main" id="{48DA013D-66FA-6E1D-6ABD-18C81575CC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625" y="0"/>
            <a:ext cx="116374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6664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D2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685800" y="1746193"/>
            <a:ext cx="2876639" cy="4426007"/>
            <a:chOff x="0" y="0"/>
            <a:chExt cx="4128770" cy="635254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" name="Freeform 4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" name="Freeform 5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" name="Freeform 6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" name="Freeform 7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" name="Freeform 8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00C6CA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Freeform 9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0" name="Group 10"/>
          <p:cNvGrpSpPr>
            <a:grpSpLocks noChangeAspect="1"/>
          </p:cNvGrpSpPr>
          <p:nvPr/>
        </p:nvGrpSpPr>
        <p:grpSpPr>
          <a:xfrm>
            <a:off x="4686969" y="1746194"/>
            <a:ext cx="2965968" cy="4563449"/>
            <a:chOff x="0" y="0"/>
            <a:chExt cx="4128770" cy="6352540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Freeform 12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Freeform 13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" name="Freeform 14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" name="Freeform 15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" name="Freeform 16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56AEFF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" name="Freeform 17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18" name="Group 18"/>
          <p:cNvGrpSpPr>
            <a:grpSpLocks noChangeAspect="1"/>
          </p:cNvGrpSpPr>
          <p:nvPr/>
        </p:nvGrpSpPr>
        <p:grpSpPr>
          <a:xfrm>
            <a:off x="8740554" y="1765773"/>
            <a:ext cx="2953242" cy="4543868"/>
            <a:chOff x="0" y="0"/>
            <a:chExt cx="4128770" cy="6352540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0" name="Freeform 20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" name="Freeform 21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" name="Freeform 22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" name="Freeform 23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Freeform 24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F9C041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Freeform 25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26" name="Group 26"/>
          <p:cNvGrpSpPr>
            <a:grpSpLocks noChangeAspect="1"/>
          </p:cNvGrpSpPr>
          <p:nvPr/>
        </p:nvGrpSpPr>
        <p:grpSpPr>
          <a:xfrm>
            <a:off x="3991435" y="190668"/>
            <a:ext cx="4357036" cy="1460916"/>
            <a:chOff x="0" y="0"/>
            <a:chExt cx="18938240" cy="6350000"/>
          </a:xfrm>
        </p:grpSpPr>
        <p:sp>
          <p:nvSpPr>
            <p:cNvPr id="27" name="Freeform 27"/>
            <p:cNvSpPr/>
            <p:nvPr/>
          </p:nvSpPr>
          <p:spPr>
            <a:xfrm>
              <a:off x="27940" y="27940"/>
              <a:ext cx="18883630" cy="916940"/>
            </a:xfrm>
            <a:custGeom>
              <a:avLst/>
              <a:gdLst/>
              <a:ahLst/>
              <a:cxnLst/>
              <a:rect l="l" t="t" r="r" b="b"/>
              <a:pathLst>
                <a:path w="18883630" h="916940">
                  <a:moveTo>
                    <a:pt x="18883630" y="670560"/>
                  </a:moveTo>
                  <a:lnTo>
                    <a:pt x="18883630" y="916940"/>
                  </a:lnTo>
                  <a:lnTo>
                    <a:pt x="0" y="916940"/>
                  </a:lnTo>
                  <a:lnTo>
                    <a:pt x="0" y="0"/>
                  </a:lnTo>
                  <a:lnTo>
                    <a:pt x="18883630" y="0"/>
                  </a:lnTo>
                  <a:lnTo>
                    <a:pt x="18883630" y="271780"/>
                  </a:lnTo>
                  <a:moveTo>
                    <a:pt x="18883630" y="271780"/>
                  </a:moveTo>
                  <a:lnTo>
                    <a:pt x="18883630" y="670560"/>
                  </a:lnTo>
                </a:path>
              </a:pathLst>
            </a:custGeom>
            <a:solidFill>
              <a:srgbClr val="FA7D9D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" name="Freeform 28"/>
            <p:cNvSpPr/>
            <p:nvPr/>
          </p:nvSpPr>
          <p:spPr>
            <a:xfrm>
              <a:off x="27940" y="944880"/>
              <a:ext cx="18883630" cy="5377180"/>
            </a:xfrm>
            <a:custGeom>
              <a:avLst/>
              <a:gdLst/>
              <a:ahLst/>
              <a:cxnLst/>
              <a:rect l="l" t="t" r="r" b="b"/>
              <a:pathLst>
                <a:path w="18883630" h="5377180">
                  <a:moveTo>
                    <a:pt x="18883630" y="1172210"/>
                  </a:moveTo>
                  <a:lnTo>
                    <a:pt x="18883630" y="5377180"/>
                  </a:lnTo>
                  <a:lnTo>
                    <a:pt x="10957560" y="5377180"/>
                  </a:lnTo>
                  <a:moveTo>
                    <a:pt x="10957560" y="5377180"/>
                  </a:moveTo>
                  <a:lnTo>
                    <a:pt x="0" y="5377180"/>
                  </a:lnTo>
                  <a:lnTo>
                    <a:pt x="0" y="0"/>
                  </a:lnTo>
                  <a:lnTo>
                    <a:pt x="18883630" y="0"/>
                  </a:lnTo>
                  <a:lnTo>
                    <a:pt x="18883630" y="1172210"/>
                  </a:lnTo>
                </a:path>
              </a:pathLst>
            </a:custGeom>
            <a:solidFill>
              <a:srgbClr val="FAF2E9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" name="Freeform 29"/>
            <p:cNvSpPr/>
            <p:nvPr/>
          </p:nvSpPr>
          <p:spPr>
            <a:xfrm>
              <a:off x="317500" y="299720"/>
              <a:ext cx="1515110" cy="369570"/>
            </a:xfrm>
            <a:custGeom>
              <a:avLst/>
              <a:gdLst/>
              <a:ahLst/>
              <a:cxnLst/>
              <a:rect l="l" t="t" r="r" b="b"/>
              <a:pathLst>
                <a:path w="1515110" h="369570">
                  <a:moveTo>
                    <a:pt x="368300" y="185420"/>
                  </a:moveTo>
                  <a:cubicBezTo>
                    <a:pt x="368300" y="287020"/>
                    <a:pt x="285750" y="369570"/>
                    <a:pt x="184150" y="369570"/>
                  </a:cubicBezTo>
                  <a:cubicBezTo>
                    <a:pt x="82550" y="369570"/>
                    <a:pt x="0" y="287020"/>
                    <a:pt x="0" y="185420"/>
                  </a:cubicBezTo>
                  <a:cubicBezTo>
                    <a:pt x="0" y="83820"/>
                    <a:pt x="82550" y="1270"/>
                    <a:pt x="184150" y="1270"/>
                  </a:cubicBezTo>
                  <a:cubicBezTo>
                    <a:pt x="285750" y="1270"/>
                    <a:pt x="368300" y="82550"/>
                    <a:pt x="368300" y="185420"/>
                  </a:cubicBezTo>
                  <a:close/>
                  <a:moveTo>
                    <a:pt x="756920" y="0"/>
                  </a:moveTo>
                  <a:cubicBezTo>
                    <a:pt x="655320" y="0"/>
                    <a:pt x="572770" y="82550"/>
                    <a:pt x="572770" y="184150"/>
                  </a:cubicBezTo>
                  <a:cubicBezTo>
                    <a:pt x="572770" y="285750"/>
                    <a:pt x="655320" y="368300"/>
                    <a:pt x="756920" y="368300"/>
                  </a:cubicBezTo>
                  <a:cubicBezTo>
                    <a:pt x="858520" y="368300"/>
                    <a:pt x="941070" y="285750"/>
                    <a:pt x="941070" y="184150"/>
                  </a:cubicBezTo>
                  <a:cubicBezTo>
                    <a:pt x="941070" y="82550"/>
                    <a:pt x="858520" y="0"/>
                    <a:pt x="756920" y="0"/>
                  </a:cubicBezTo>
                  <a:close/>
                  <a:moveTo>
                    <a:pt x="1330960" y="0"/>
                  </a:moveTo>
                  <a:cubicBezTo>
                    <a:pt x="1229360" y="0"/>
                    <a:pt x="1146810" y="82550"/>
                    <a:pt x="1146810" y="184150"/>
                  </a:cubicBezTo>
                  <a:cubicBezTo>
                    <a:pt x="1146810" y="285750"/>
                    <a:pt x="1229360" y="368300"/>
                    <a:pt x="1330960" y="368300"/>
                  </a:cubicBezTo>
                  <a:cubicBezTo>
                    <a:pt x="1432560" y="368300"/>
                    <a:pt x="1515110" y="285750"/>
                    <a:pt x="1515110" y="184150"/>
                  </a:cubicBezTo>
                  <a:cubicBezTo>
                    <a:pt x="1515110" y="82550"/>
                    <a:pt x="1432560" y="0"/>
                    <a:pt x="133096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" name="Freeform 30"/>
            <p:cNvSpPr/>
            <p:nvPr/>
          </p:nvSpPr>
          <p:spPr>
            <a:xfrm>
              <a:off x="0" y="0"/>
              <a:ext cx="18939509" cy="6350000"/>
            </a:xfrm>
            <a:custGeom>
              <a:avLst/>
              <a:gdLst/>
              <a:ahLst/>
              <a:cxnLst/>
              <a:rect l="l" t="t" r="r" b="b"/>
              <a:pathLst>
                <a:path w="18939509" h="6350000">
                  <a:moveTo>
                    <a:pt x="18911570" y="6350000"/>
                  </a:moveTo>
                  <a:lnTo>
                    <a:pt x="27940" y="6350000"/>
                  </a:lnTo>
                  <a:cubicBezTo>
                    <a:pt x="12700" y="6350000"/>
                    <a:pt x="0" y="6337300"/>
                    <a:pt x="0" y="6322060"/>
                  </a:cubicBezTo>
                  <a:lnTo>
                    <a:pt x="0" y="27940"/>
                  </a:lnTo>
                  <a:cubicBezTo>
                    <a:pt x="0" y="12700"/>
                    <a:pt x="12700" y="0"/>
                    <a:pt x="27940" y="0"/>
                  </a:cubicBezTo>
                  <a:lnTo>
                    <a:pt x="18911570" y="0"/>
                  </a:lnTo>
                  <a:cubicBezTo>
                    <a:pt x="18926809" y="0"/>
                    <a:pt x="18939509" y="12700"/>
                    <a:pt x="18939509" y="27940"/>
                  </a:cubicBezTo>
                  <a:lnTo>
                    <a:pt x="18939509" y="6322060"/>
                  </a:lnTo>
                  <a:cubicBezTo>
                    <a:pt x="18938239" y="6337300"/>
                    <a:pt x="18926811" y="6350000"/>
                    <a:pt x="18911570" y="6350000"/>
                  </a:cubicBezTo>
                  <a:close/>
                  <a:moveTo>
                    <a:pt x="55880" y="6294120"/>
                  </a:moveTo>
                  <a:lnTo>
                    <a:pt x="18883630" y="6294120"/>
                  </a:lnTo>
                  <a:lnTo>
                    <a:pt x="18883630" y="55880"/>
                  </a:lnTo>
                  <a:lnTo>
                    <a:pt x="55880" y="55880"/>
                  </a:lnTo>
                  <a:lnTo>
                    <a:pt x="55880" y="6294120"/>
                  </a:lnTo>
                  <a:close/>
                  <a:moveTo>
                    <a:pt x="18911570" y="972820"/>
                  </a:moveTo>
                  <a:lnTo>
                    <a:pt x="27940" y="972820"/>
                  </a:lnTo>
                  <a:cubicBezTo>
                    <a:pt x="12700" y="972820"/>
                    <a:pt x="0" y="960120"/>
                    <a:pt x="0" y="944880"/>
                  </a:cubicBezTo>
                  <a:lnTo>
                    <a:pt x="0" y="27940"/>
                  </a:lnTo>
                  <a:cubicBezTo>
                    <a:pt x="0" y="12700"/>
                    <a:pt x="12700" y="0"/>
                    <a:pt x="27940" y="0"/>
                  </a:cubicBezTo>
                  <a:lnTo>
                    <a:pt x="18911570" y="0"/>
                  </a:lnTo>
                  <a:cubicBezTo>
                    <a:pt x="18926809" y="0"/>
                    <a:pt x="18939509" y="12700"/>
                    <a:pt x="18939509" y="27940"/>
                  </a:cubicBezTo>
                  <a:lnTo>
                    <a:pt x="18939509" y="944880"/>
                  </a:lnTo>
                  <a:cubicBezTo>
                    <a:pt x="18938239" y="960120"/>
                    <a:pt x="18926811" y="972820"/>
                    <a:pt x="18911570" y="972820"/>
                  </a:cubicBezTo>
                  <a:close/>
                  <a:moveTo>
                    <a:pt x="55880" y="916940"/>
                  </a:moveTo>
                  <a:lnTo>
                    <a:pt x="18883630" y="916940"/>
                  </a:lnTo>
                  <a:lnTo>
                    <a:pt x="18883630" y="55880"/>
                  </a:lnTo>
                  <a:lnTo>
                    <a:pt x="55880" y="55880"/>
                  </a:lnTo>
                  <a:lnTo>
                    <a:pt x="55880" y="916940"/>
                  </a:lnTo>
                  <a:close/>
                  <a:moveTo>
                    <a:pt x="501650" y="695960"/>
                  </a:moveTo>
                  <a:cubicBezTo>
                    <a:pt x="384810" y="695960"/>
                    <a:pt x="289560" y="600710"/>
                    <a:pt x="289560" y="483870"/>
                  </a:cubicBezTo>
                  <a:cubicBezTo>
                    <a:pt x="289560" y="367030"/>
                    <a:pt x="384810" y="271780"/>
                    <a:pt x="501650" y="271780"/>
                  </a:cubicBezTo>
                  <a:cubicBezTo>
                    <a:pt x="618490" y="271780"/>
                    <a:pt x="713740" y="367030"/>
                    <a:pt x="713740" y="483870"/>
                  </a:cubicBezTo>
                  <a:cubicBezTo>
                    <a:pt x="713740" y="600710"/>
                    <a:pt x="618490" y="695960"/>
                    <a:pt x="501650" y="695960"/>
                  </a:cubicBezTo>
                  <a:close/>
                  <a:moveTo>
                    <a:pt x="501650" y="327660"/>
                  </a:moveTo>
                  <a:cubicBezTo>
                    <a:pt x="415290" y="327660"/>
                    <a:pt x="345440" y="397510"/>
                    <a:pt x="345440" y="483870"/>
                  </a:cubicBezTo>
                  <a:cubicBezTo>
                    <a:pt x="345440" y="570230"/>
                    <a:pt x="415290" y="640080"/>
                    <a:pt x="501650" y="640080"/>
                  </a:cubicBezTo>
                  <a:cubicBezTo>
                    <a:pt x="588010" y="640080"/>
                    <a:pt x="657860" y="570230"/>
                    <a:pt x="657860" y="483870"/>
                  </a:cubicBezTo>
                  <a:cubicBezTo>
                    <a:pt x="657860" y="397510"/>
                    <a:pt x="588010" y="327660"/>
                    <a:pt x="501650" y="327660"/>
                  </a:cubicBezTo>
                  <a:close/>
                  <a:moveTo>
                    <a:pt x="1074420" y="695960"/>
                  </a:moveTo>
                  <a:cubicBezTo>
                    <a:pt x="957580" y="695960"/>
                    <a:pt x="862330" y="600710"/>
                    <a:pt x="862330" y="483870"/>
                  </a:cubicBezTo>
                  <a:cubicBezTo>
                    <a:pt x="862330" y="367030"/>
                    <a:pt x="957580" y="271780"/>
                    <a:pt x="1074420" y="271780"/>
                  </a:cubicBezTo>
                  <a:cubicBezTo>
                    <a:pt x="1191260" y="271780"/>
                    <a:pt x="1286510" y="367030"/>
                    <a:pt x="1286510" y="483870"/>
                  </a:cubicBezTo>
                  <a:cubicBezTo>
                    <a:pt x="1286510" y="600710"/>
                    <a:pt x="1191260" y="695960"/>
                    <a:pt x="1074420" y="695960"/>
                  </a:cubicBezTo>
                  <a:close/>
                  <a:moveTo>
                    <a:pt x="1074420" y="327660"/>
                  </a:moveTo>
                  <a:cubicBezTo>
                    <a:pt x="988060" y="327660"/>
                    <a:pt x="918210" y="397510"/>
                    <a:pt x="918210" y="483870"/>
                  </a:cubicBezTo>
                  <a:cubicBezTo>
                    <a:pt x="918210" y="570230"/>
                    <a:pt x="988060" y="640080"/>
                    <a:pt x="1074420" y="640080"/>
                  </a:cubicBezTo>
                  <a:cubicBezTo>
                    <a:pt x="1160780" y="640080"/>
                    <a:pt x="1230630" y="570230"/>
                    <a:pt x="1230630" y="483870"/>
                  </a:cubicBezTo>
                  <a:cubicBezTo>
                    <a:pt x="1230630" y="397510"/>
                    <a:pt x="1160780" y="327660"/>
                    <a:pt x="1074420" y="327660"/>
                  </a:cubicBezTo>
                  <a:close/>
                  <a:moveTo>
                    <a:pt x="1648460" y="695960"/>
                  </a:moveTo>
                  <a:cubicBezTo>
                    <a:pt x="1531620" y="695960"/>
                    <a:pt x="1436370" y="600710"/>
                    <a:pt x="1436370" y="483870"/>
                  </a:cubicBezTo>
                  <a:cubicBezTo>
                    <a:pt x="1436370" y="367030"/>
                    <a:pt x="1531620" y="271780"/>
                    <a:pt x="1648460" y="271780"/>
                  </a:cubicBezTo>
                  <a:cubicBezTo>
                    <a:pt x="1765300" y="271780"/>
                    <a:pt x="1860550" y="367030"/>
                    <a:pt x="1860550" y="483870"/>
                  </a:cubicBezTo>
                  <a:cubicBezTo>
                    <a:pt x="1860550" y="600710"/>
                    <a:pt x="1765300" y="695960"/>
                    <a:pt x="1648460" y="695960"/>
                  </a:cubicBezTo>
                  <a:close/>
                  <a:moveTo>
                    <a:pt x="1648460" y="327660"/>
                  </a:moveTo>
                  <a:cubicBezTo>
                    <a:pt x="1562100" y="327660"/>
                    <a:pt x="1492250" y="397510"/>
                    <a:pt x="1492250" y="483870"/>
                  </a:cubicBezTo>
                  <a:cubicBezTo>
                    <a:pt x="1492250" y="570230"/>
                    <a:pt x="1562100" y="640080"/>
                    <a:pt x="1648460" y="640080"/>
                  </a:cubicBezTo>
                  <a:cubicBezTo>
                    <a:pt x="1734820" y="640080"/>
                    <a:pt x="1804670" y="570230"/>
                    <a:pt x="1804670" y="483870"/>
                  </a:cubicBezTo>
                  <a:cubicBezTo>
                    <a:pt x="1804670" y="397510"/>
                    <a:pt x="1733550" y="327660"/>
                    <a:pt x="1648460" y="327660"/>
                  </a:cubicBezTo>
                  <a:close/>
                  <a:moveTo>
                    <a:pt x="18501361" y="670560"/>
                  </a:moveTo>
                  <a:lnTo>
                    <a:pt x="18501361" y="302260"/>
                  </a:lnTo>
                  <a:cubicBezTo>
                    <a:pt x="18501361" y="287020"/>
                    <a:pt x="18488661" y="274320"/>
                    <a:pt x="18473421" y="274320"/>
                  </a:cubicBezTo>
                  <a:cubicBezTo>
                    <a:pt x="18458182" y="274320"/>
                    <a:pt x="18445482" y="287020"/>
                    <a:pt x="18445482" y="302260"/>
                  </a:cubicBezTo>
                  <a:lnTo>
                    <a:pt x="18445482" y="670560"/>
                  </a:lnTo>
                  <a:cubicBezTo>
                    <a:pt x="18445482" y="685800"/>
                    <a:pt x="18458182" y="698500"/>
                    <a:pt x="18473421" y="698500"/>
                  </a:cubicBezTo>
                  <a:cubicBezTo>
                    <a:pt x="18488661" y="698500"/>
                    <a:pt x="18501361" y="685800"/>
                    <a:pt x="18501361" y="670560"/>
                  </a:cubicBezTo>
                  <a:close/>
                  <a:moveTo>
                    <a:pt x="18685511" y="488950"/>
                  </a:moveTo>
                  <a:cubicBezTo>
                    <a:pt x="18685511" y="473710"/>
                    <a:pt x="18672811" y="461010"/>
                    <a:pt x="18657571" y="461010"/>
                  </a:cubicBezTo>
                  <a:lnTo>
                    <a:pt x="18289271" y="458470"/>
                  </a:lnTo>
                  <a:cubicBezTo>
                    <a:pt x="18275302" y="457200"/>
                    <a:pt x="18261332" y="471170"/>
                    <a:pt x="18261332" y="486410"/>
                  </a:cubicBezTo>
                  <a:cubicBezTo>
                    <a:pt x="18261332" y="501650"/>
                    <a:pt x="18274032" y="514350"/>
                    <a:pt x="18289271" y="514350"/>
                  </a:cubicBezTo>
                  <a:lnTo>
                    <a:pt x="18657571" y="516890"/>
                  </a:lnTo>
                  <a:lnTo>
                    <a:pt x="18657571" y="516890"/>
                  </a:lnTo>
                  <a:cubicBezTo>
                    <a:pt x="18672811" y="516890"/>
                    <a:pt x="18685511" y="504190"/>
                    <a:pt x="18685511" y="48895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1" name="Freeform 31"/>
          <p:cNvSpPr/>
          <p:nvPr/>
        </p:nvSpPr>
        <p:spPr>
          <a:xfrm>
            <a:off x="0" y="0"/>
            <a:ext cx="1861697" cy="801996"/>
          </a:xfrm>
          <a:custGeom>
            <a:avLst/>
            <a:gdLst/>
            <a:ahLst/>
            <a:cxnLst/>
            <a:rect l="l" t="t" r="r" b="b"/>
            <a:pathLst>
              <a:path w="2792546" h="1202994">
                <a:moveTo>
                  <a:pt x="0" y="0"/>
                </a:moveTo>
                <a:lnTo>
                  <a:pt x="2792546" y="0"/>
                </a:lnTo>
                <a:lnTo>
                  <a:pt x="2792546" y="1202994"/>
                </a:lnTo>
                <a:lnTo>
                  <a:pt x="0" y="1202994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" name="Freeform 32"/>
          <p:cNvSpPr/>
          <p:nvPr/>
        </p:nvSpPr>
        <p:spPr>
          <a:xfrm>
            <a:off x="692039" y="1999823"/>
            <a:ext cx="2864160" cy="1652356"/>
          </a:xfrm>
          <a:custGeom>
            <a:avLst/>
            <a:gdLst/>
            <a:ahLst/>
            <a:cxnLst/>
            <a:rect l="l" t="t" r="r" b="b"/>
            <a:pathLst>
              <a:path w="4296240" h="2478534">
                <a:moveTo>
                  <a:pt x="0" y="0"/>
                </a:moveTo>
                <a:lnTo>
                  <a:pt x="4296240" y="0"/>
                </a:lnTo>
                <a:lnTo>
                  <a:pt x="4296240" y="2478534"/>
                </a:lnTo>
                <a:lnTo>
                  <a:pt x="0" y="2478534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-3725" t="-9486" r="-16868" b="-9486"/>
            </a:stretch>
          </a:blipFill>
          <a:ln w="38100" cap="sq">
            <a:solidFill>
              <a:srgbClr val="000000"/>
            </a:solidFill>
            <a:prstDash val="solid"/>
            <a:miter/>
          </a:ln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Freeform 33"/>
          <p:cNvSpPr/>
          <p:nvPr/>
        </p:nvSpPr>
        <p:spPr>
          <a:xfrm>
            <a:off x="692150" y="3559718"/>
            <a:ext cx="2863850" cy="1495365"/>
          </a:xfrm>
          <a:custGeom>
            <a:avLst/>
            <a:gdLst/>
            <a:ahLst/>
            <a:cxnLst/>
            <a:rect l="l" t="t" r="r" b="b"/>
            <a:pathLst>
              <a:path w="4295775" h="2243048">
                <a:moveTo>
                  <a:pt x="0" y="0"/>
                </a:moveTo>
                <a:lnTo>
                  <a:pt x="4295775" y="0"/>
                </a:lnTo>
                <a:lnTo>
                  <a:pt x="4295775" y="2243048"/>
                </a:lnTo>
                <a:lnTo>
                  <a:pt x="0" y="2243048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l="-299" t="-6041" r="-1027"/>
            </a:stretch>
          </a:blipFill>
          <a:ln w="38100" cap="sq">
            <a:solidFill>
              <a:srgbClr val="000000"/>
            </a:solidFill>
            <a:prstDash val="solid"/>
            <a:miter/>
          </a:ln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4" name="Freeform 34"/>
          <p:cNvSpPr/>
          <p:nvPr/>
        </p:nvSpPr>
        <p:spPr>
          <a:xfrm>
            <a:off x="692150" y="5053807"/>
            <a:ext cx="2863850" cy="1326331"/>
          </a:xfrm>
          <a:custGeom>
            <a:avLst/>
            <a:gdLst/>
            <a:ahLst/>
            <a:cxnLst/>
            <a:rect l="l" t="t" r="r" b="b"/>
            <a:pathLst>
              <a:path w="4295775" h="1989497">
                <a:moveTo>
                  <a:pt x="0" y="0"/>
                </a:moveTo>
                <a:lnTo>
                  <a:pt x="4295775" y="0"/>
                </a:lnTo>
                <a:lnTo>
                  <a:pt x="4295775" y="1989498"/>
                </a:lnTo>
                <a:lnTo>
                  <a:pt x="0" y="1989498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-9524" b="-9524"/>
            </a:stretch>
          </a:blipFill>
          <a:ln w="38100" cap="sq">
            <a:solidFill>
              <a:srgbClr val="000000"/>
            </a:solidFill>
            <a:prstDash val="solid"/>
            <a:miter/>
          </a:ln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35" name="Group 35"/>
          <p:cNvGrpSpPr/>
          <p:nvPr/>
        </p:nvGrpSpPr>
        <p:grpSpPr>
          <a:xfrm>
            <a:off x="491675" y="6117753"/>
            <a:ext cx="3258859" cy="727602"/>
            <a:chOff x="0" y="0"/>
            <a:chExt cx="46671864" cy="10420374"/>
          </a:xfrm>
        </p:grpSpPr>
        <p:sp>
          <p:nvSpPr>
            <p:cNvPr id="36" name="Freeform 36"/>
            <p:cNvSpPr/>
            <p:nvPr/>
          </p:nvSpPr>
          <p:spPr>
            <a:xfrm>
              <a:off x="72390" y="72390"/>
              <a:ext cx="46527085" cy="10275594"/>
            </a:xfrm>
            <a:custGeom>
              <a:avLst/>
              <a:gdLst/>
              <a:ahLst/>
              <a:cxnLst/>
              <a:rect l="l" t="t" r="r" b="b"/>
              <a:pathLst>
                <a:path w="46527085" h="10275594">
                  <a:moveTo>
                    <a:pt x="0" y="0"/>
                  </a:moveTo>
                  <a:lnTo>
                    <a:pt x="46527085" y="0"/>
                  </a:lnTo>
                  <a:lnTo>
                    <a:pt x="4652708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" name="Freeform 37"/>
            <p:cNvSpPr/>
            <p:nvPr/>
          </p:nvSpPr>
          <p:spPr>
            <a:xfrm>
              <a:off x="0" y="0"/>
              <a:ext cx="46671864" cy="10420373"/>
            </a:xfrm>
            <a:custGeom>
              <a:avLst/>
              <a:gdLst/>
              <a:ahLst/>
              <a:cxnLst/>
              <a:rect l="l" t="t" r="r" b="b"/>
              <a:pathLst>
                <a:path w="46671864" h="10420373">
                  <a:moveTo>
                    <a:pt x="46527083" y="10275594"/>
                  </a:moveTo>
                  <a:lnTo>
                    <a:pt x="46671864" y="10275594"/>
                  </a:lnTo>
                  <a:lnTo>
                    <a:pt x="46671864" y="10420373"/>
                  </a:lnTo>
                  <a:lnTo>
                    <a:pt x="46527083" y="10420373"/>
                  </a:lnTo>
                  <a:lnTo>
                    <a:pt x="46527083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6527083" y="144780"/>
                  </a:moveTo>
                  <a:lnTo>
                    <a:pt x="46671864" y="144780"/>
                  </a:lnTo>
                  <a:lnTo>
                    <a:pt x="46671864" y="10275594"/>
                  </a:lnTo>
                  <a:lnTo>
                    <a:pt x="46527083" y="10275594"/>
                  </a:lnTo>
                  <a:lnTo>
                    <a:pt x="46527083" y="144780"/>
                  </a:lnTo>
                  <a:close/>
                  <a:moveTo>
                    <a:pt x="144780" y="10275594"/>
                  </a:moveTo>
                  <a:lnTo>
                    <a:pt x="46527083" y="10275594"/>
                  </a:lnTo>
                  <a:lnTo>
                    <a:pt x="46527083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6527083" y="0"/>
                  </a:moveTo>
                  <a:lnTo>
                    <a:pt x="46671864" y="0"/>
                  </a:lnTo>
                  <a:lnTo>
                    <a:pt x="46671864" y="144780"/>
                  </a:lnTo>
                  <a:lnTo>
                    <a:pt x="46527083" y="144780"/>
                  </a:lnTo>
                  <a:lnTo>
                    <a:pt x="46527083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6527083" y="0"/>
                  </a:lnTo>
                  <a:lnTo>
                    <a:pt x="46527083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8" name="Freeform 38"/>
          <p:cNvSpPr/>
          <p:nvPr/>
        </p:nvSpPr>
        <p:spPr>
          <a:xfrm>
            <a:off x="3148112" y="3628711"/>
            <a:ext cx="268283" cy="225357"/>
          </a:xfrm>
          <a:custGeom>
            <a:avLst/>
            <a:gdLst/>
            <a:ahLst/>
            <a:cxnLst/>
            <a:rect l="l" t="t" r="r" b="b"/>
            <a:pathLst>
              <a:path w="402424" h="338036">
                <a:moveTo>
                  <a:pt x="0" y="0"/>
                </a:moveTo>
                <a:lnTo>
                  <a:pt x="402424" y="0"/>
                </a:lnTo>
                <a:lnTo>
                  <a:pt x="402424" y="338036"/>
                </a:lnTo>
                <a:lnTo>
                  <a:pt x="0" y="338036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9" name="Freeform 39"/>
          <p:cNvSpPr/>
          <p:nvPr/>
        </p:nvSpPr>
        <p:spPr>
          <a:xfrm>
            <a:off x="4675368" y="1976160"/>
            <a:ext cx="2977570" cy="1652551"/>
          </a:xfrm>
          <a:custGeom>
            <a:avLst/>
            <a:gdLst/>
            <a:ahLst/>
            <a:cxnLst/>
            <a:rect l="l" t="t" r="r" b="b"/>
            <a:pathLst>
              <a:path w="4466355" h="2478827">
                <a:moveTo>
                  <a:pt x="0" y="0"/>
                </a:moveTo>
                <a:lnTo>
                  <a:pt x="4466355" y="0"/>
                </a:lnTo>
                <a:lnTo>
                  <a:pt x="4466355" y="2478827"/>
                </a:lnTo>
                <a:lnTo>
                  <a:pt x="0" y="2478827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8100" cap="sq">
            <a:solidFill>
              <a:srgbClr val="000000"/>
            </a:solidFill>
            <a:prstDash val="solid"/>
            <a:miter/>
          </a:ln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0" name="Freeform 40"/>
          <p:cNvSpPr/>
          <p:nvPr/>
        </p:nvSpPr>
        <p:spPr>
          <a:xfrm>
            <a:off x="4675367" y="3580942"/>
            <a:ext cx="2977515" cy="1801834"/>
          </a:xfrm>
          <a:custGeom>
            <a:avLst/>
            <a:gdLst/>
            <a:ahLst/>
            <a:cxnLst/>
            <a:rect l="l" t="t" r="r" b="b"/>
            <a:pathLst>
              <a:path w="4466272" h="2702751">
                <a:moveTo>
                  <a:pt x="0" y="0"/>
                </a:moveTo>
                <a:lnTo>
                  <a:pt x="4466273" y="0"/>
                </a:lnTo>
                <a:lnTo>
                  <a:pt x="4466273" y="2702752"/>
                </a:lnTo>
                <a:lnTo>
                  <a:pt x="0" y="2702752"/>
                </a:lnTo>
                <a:lnTo>
                  <a:pt x="0" y="0"/>
                </a:lnTo>
                <a:close/>
              </a:path>
            </a:pathLst>
          </a:cu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8100" cap="sq">
            <a:solidFill>
              <a:srgbClr val="000000"/>
            </a:solidFill>
            <a:prstDash val="solid"/>
            <a:miter/>
          </a:ln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1" name="Freeform 41"/>
          <p:cNvSpPr/>
          <p:nvPr/>
        </p:nvSpPr>
        <p:spPr>
          <a:xfrm>
            <a:off x="7242038" y="3231582"/>
            <a:ext cx="268283" cy="225357"/>
          </a:xfrm>
          <a:custGeom>
            <a:avLst/>
            <a:gdLst/>
            <a:ahLst/>
            <a:cxnLst/>
            <a:rect l="l" t="t" r="r" b="b"/>
            <a:pathLst>
              <a:path w="402424" h="338036">
                <a:moveTo>
                  <a:pt x="0" y="0"/>
                </a:moveTo>
                <a:lnTo>
                  <a:pt x="402423" y="0"/>
                </a:lnTo>
                <a:lnTo>
                  <a:pt x="402423" y="338036"/>
                </a:lnTo>
                <a:lnTo>
                  <a:pt x="0" y="338036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Freeform 42"/>
          <p:cNvSpPr/>
          <p:nvPr/>
        </p:nvSpPr>
        <p:spPr>
          <a:xfrm>
            <a:off x="4675505" y="4704448"/>
            <a:ext cx="2977515" cy="1585614"/>
          </a:xfrm>
          <a:custGeom>
            <a:avLst/>
            <a:gdLst/>
            <a:ahLst/>
            <a:cxnLst/>
            <a:rect l="l" t="t" r="r" b="b"/>
            <a:pathLst>
              <a:path w="4466272" h="2378421">
                <a:moveTo>
                  <a:pt x="0" y="0"/>
                </a:moveTo>
                <a:lnTo>
                  <a:pt x="4466273" y="0"/>
                </a:lnTo>
                <a:lnTo>
                  <a:pt x="4466273" y="2378421"/>
                </a:lnTo>
                <a:lnTo>
                  <a:pt x="0" y="2378421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8100" cap="sq">
            <a:solidFill>
              <a:srgbClr val="000000"/>
            </a:solidFill>
            <a:prstDash val="solid"/>
            <a:miter/>
          </a:ln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43" name="Group 43"/>
          <p:cNvGrpSpPr/>
          <p:nvPr/>
        </p:nvGrpSpPr>
        <p:grpSpPr>
          <a:xfrm>
            <a:off x="4550033" y="6117753"/>
            <a:ext cx="3258859" cy="727602"/>
            <a:chOff x="0" y="0"/>
            <a:chExt cx="46671864" cy="10420374"/>
          </a:xfrm>
        </p:grpSpPr>
        <p:sp>
          <p:nvSpPr>
            <p:cNvPr id="44" name="Freeform 44"/>
            <p:cNvSpPr/>
            <p:nvPr/>
          </p:nvSpPr>
          <p:spPr>
            <a:xfrm>
              <a:off x="72390" y="72390"/>
              <a:ext cx="46527085" cy="10275594"/>
            </a:xfrm>
            <a:custGeom>
              <a:avLst/>
              <a:gdLst/>
              <a:ahLst/>
              <a:cxnLst/>
              <a:rect l="l" t="t" r="r" b="b"/>
              <a:pathLst>
                <a:path w="46527085" h="10275594">
                  <a:moveTo>
                    <a:pt x="0" y="0"/>
                  </a:moveTo>
                  <a:lnTo>
                    <a:pt x="46527085" y="0"/>
                  </a:lnTo>
                  <a:lnTo>
                    <a:pt x="4652708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Freeform 45"/>
            <p:cNvSpPr/>
            <p:nvPr/>
          </p:nvSpPr>
          <p:spPr>
            <a:xfrm>
              <a:off x="0" y="0"/>
              <a:ext cx="46671864" cy="10420373"/>
            </a:xfrm>
            <a:custGeom>
              <a:avLst/>
              <a:gdLst/>
              <a:ahLst/>
              <a:cxnLst/>
              <a:rect l="l" t="t" r="r" b="b"/>
              <a:pathLst>
                <a:path w="46671864" h="10420373">
                  <a:moveTo>
                    <a:pt x="46527083" y="10275594"/>
                  </a:moveTo>
                  <a:lnTo>
                    <a:pt x="46671864" y="10275594"/>
                  </a:lnTo>
                  <a:lnTo>
                    <a:pt x="46671864" y="10420373"/>
                  </a:lnTo>
                  <a:lnTo>
                    <a:pt x="46527083" y="10420373"/>
                  </a:lnTo>
                  <a:lnTo>
                    <a:pt x="46527083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6527083" y="144780"/>
                  </a:moveTo>
                  <a:lnTo>
                    <a:pt x="46671864" y="144780"/>
                  </a:lnTo>
                  <a:lnTo>
                    <a:pt x="46671864" y="10275594"/>
                  </a:lnTo>
                  <a:lnTo>
                    <a:pt x="46527083" y="10275594"/>
                  </a:lnTo>
                  <a:lnTo>
                    <a:pt x="46527083" y="144780"/>
                  </a:lnTo>
                  <a:close/>
                  <a:moveTo>
                    <a:pt x="144780" y="10275594"/>
                  </a:moveTo>
                  <a:lnTo>
                    <a:pt x="46527083" y="10275594"/>
                  </a:lnTo>
                  <a:lnTo>
                    <a:pt x="46527083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6527083" y="0"/>
                  </a:moveTo>
                  <a:lnTo>
                    <a:pt x="46671864" y="0"/>
                  </a:lnTo>
                  <a:lnTo>
                    <a:pt x="46671864" y="144780"/>
                  </a:lnTo>
                  <a:lnTo>
                    <a:pt x="46527083" y="144780"/>
                  </a:lnTo>
                  <a:lnTo>
                    <a:pt x="46527083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6527083" y="0"/>
                  </a:lnTo>
                  <a:lnTo>
                    <a:pt x="46527083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46" name="Freeform 46"/>
          <p:cNvSpPr/>
          <p:nvPr/>
        </p:nvSpPr>
        <p:spPr>
          <a:xfrm>
            <a:off x="8740554" y="2027304"/>
            <a:ext cx="2953242" cy="1605825"/>
          </a:xfrm>
          <a:custGeom>
            <a:avLst/>
            <a:gdLst/>
            <a:ahLst/>
            <a:cxnLst/>
            <a:rect l="l" t="t" r="r" b="b"/>
            <a:pathLst>
              <a:path w="4429863" h="2408738">
                <a:moveTo>
                  <a:pt x="0" y="0"/>
                </a:moveTo>
                <a:lnTo>
                  <a:pt x="4429863" y="0"/>
                </a:lnTo>
                <a:lnTo>
                  <a:pt x="4429863" y="2408738"/>
                </a:lnTo>
                <a:lnTo>
                  <a:pt x="0" y="2408738"/>
                </a:lnTo>
                <a:lnTo>
                  <a:pt x="0" y="0"/>
                </a:lnTo>
                <a:close/>
              </a:path>
            </a:pathLst>
          </a:cu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8100" cap="sq">
            <a:solidFill>
              <a:srgbClr val="000000"/>
            </a:solidFill>
            <a:prstDash val="solid"/>
            <a:miter/>
          </a:ln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7" name="Freeform 47"/>
          <p:cNvSpPr/>
          <p:nvPr/>
        </p:nvSpPr>
        <p:spPr>
          <a:xfrm>
            <a:off x="8740554" y="3456939"/>
            <a:ext cx="2953242" cy="1650124"/>
          </a:xfrm>
          <a:custGeom>
            <a:avLst/>
            <a:gdLst/>
            <a:ahLst/>
            <a:cxnLst/>
            <a:rect l="l" t="t" r="r" b="b"/>
            <a:pathLst>
              <a:path w="4429863" h="2475186">
                <a:moveTo>
                  <a:pt x="0" y="0"/>
                </a:moveTo>
                <a:lnTo>
                  <a:pt x="4429863" y="0"/>
                </a:lnTo>
                <a:lnTo>
                  <a:pt x="4429863" y="2475186"/>
                </a:lnTo>
                <a:lnTo>
                  <a:pt x="0" y="2475186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8100" cap="sq">
            <a:solidFill>
              <a:srgbClr val="000000"/>
            </a:solidFill>
            <a:prstDash val="solid"/>
            <a:miter/>
          </a:ln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Freeform 48"/>
          <p:cNvSpPr/>
          <p:nvPr/>
        </p:nvSpPr>
        <p:spPr>
          <a:xfrm>
            <a:off x="11237917" y="4591769"/>
            <a:ext cx="268283" cy="225357"/>
          </a:xfrm>
          <a:custGeom>
            <a:avLst/>
            <a:gdLst/>
            <a:ahLst/>
            <a:cxnLst/>
            <a:rect l="l" t="t" r="r" b="b"/>
            <a:pathLst>
              <a:path w="402424" h="338036">
                <a:moveTo>
                  <a:pt x="0" y="0"/>
                </a:moveTo>
                <a:lnTo>
                  <a:pt x="402424" y="0"/>
                </a:lnTo>
                <a:lnTo>
                  <a:pt x="402424" y="338035"/>
                </a:lnTo>
                <a:lnTo>
                  <a:pt x="0" y="338035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Freeform 49"/>
          <p:cNvSpPr/>
          <p:nvPr/>
        </p:nvSpPr>
        <p:spPr>
          <a:xfrm>
            <a:off x="8901913" y="3071700"/>
            <a:ext cx="268283" cy="225357"/>
          </a:xfrm>
          <a:custGeom>
            <a:avLst/>
            <a:gdLst/>
            <a:ahLst/>
            <a:cxnLst/>
            <a:rect l="l" t="t" r="r" b="b"/>
            <a:pathLst>
              <a:path w="402424" h="338036">
                <a:moveTo>
                  <a:pt x="0" y="0"/>
                </a:moveTo>
                <a:lnTo>
                  <a:pt x="402424" y="0"/>
                </a:lnTo>
                <a:lnTo>
                  <a:pt x="402424" y="338036"/>
                </a:lnTo>
                <a:lnTo>
                  <a:pt x="0" y="338036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0" name="Freeform 50"/>
          <p:cNvSpPr/>
          <p:nvPr/>
        </p:nvSpPr>
        <p:spPr>
          <a:xfrm>
            <a:off x="8742342" y="4554218"/>
            <a:ext cx="2951454" cy="1657117"/>
          </a:xfrm>
          <a:custGeom>
            <a:avLst/>
            <a:gdLst/>
            <a:ahLst/>
            <a:cxnLst/>
            <a:rect l="l" t="t" r="r" b="b"/>
            <a:pathLst>
              <a:path w="4427181" h="2485676">
                <a:moveTo>
                  <a:pt x="0" y="0"/>
                </a:moveTo>
                <a:lnTo>
                  <a:pt x="4427181" y="0"/>
                </a:lnTo>
                <a:lnTo>
                  <a:pt x="4427181" y="2485676"/>
                </a:lnTo>
                <a:lnTo>
                  <a:pt x="0" y="2485676"/>
                </a:lnTo>
                <a:lnTo>
                  <a:pt x="0" y="0"/>
                </a:lnTo>
                <a:close/>
              </a:path>
            </a:pathLst>
          </a:custGeom>
          <a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8100" cap="sq">
            <a:solidFill>
              <a:srgbClr val="000000"/>
            </a:solidFill>
            <a:prstDash val="solid"/>
            <a:miter/>
          </a:ln>
        </p:spPr>
        <p:txBody>
          <a:bodyPr/>
          <a:lstStyle/>
          <a:p>
            <a:pPr defTabSz="609630"/>
            <a:endParaRPr lang="en-US" sz="120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1" name="Group 51"/>
          <p:cNvGrpSpPr/>
          <p:nvPr/>
        </p:nvGrpSpPr>
        <p:grpSpPr>
          <a:xfrm>
            <a:off x="8587746" y="6100270"/>
            <a:ext cx="3258859" cy="727602"/>
            <a:chOff x="0" y="0"/>
            <a:chExt cx="46671864" cy="10420374"/>
          </a:xfrm>
        </p:grpSpPr>
        <p:sp>
          <p:nvSpPr>
            <p:cNvPr id="52" name="Freeform 52"/>
            <p:cNvSpPr/>
            <p:nvPr/>
          </p:nvSpPr>
          <p:spPr>
            <a:xfrm>
              <a:off x="72390" y="72390"/>
              <a:ext cx="46527085" cy="10275594"/>
            </a:xfrm>
            <a:custGeom>
              <a:avLst/>
              <a:gdLst/>
              <a:ahLst/>
              <a:cxnLst/>
              <a:rect l="l" t="t" r="r" b="b"/>
              <a:pathLst>
                <a:path w="46527085" h="10275594">
                  <a:moveTo>
                    <a:pt x="0" y="0"/>
                  </a:moveTo>
                  <a:lnTo>
                    <a:pt x="46527085" y="0"/>
                  </a:lnTo>
                  <a:lnTo>
                    <a:pt x="4652708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" name="Freeform 53"/>
            <p:cNvSpPr/>
            <p:nvPr/>
          </p:nvSpPr>
          <p:spPr>
            <a:xfrm>
              <a:off x="0" y="0"/>
              <a:ext cx="46671864" cy="10420373"/>
            </a:xfrm>
            <a:custGeom>
              <a:avLst/>
              <a:gdLst/>
              <a:ahLst/>
              <a:cxnLst/>
              <a:rect l="l" t="t" r="r" b="b"/>
              <a:pathLst>
                <a:path w="46671864" h="10420373">
                  <a:moveTo>
                    <a:pt x="46527083" y="10275594"/>
                  </a:moveTo>
                  <a:lnTo>
                    <a:pt x="46671864" y="10275594"/>
                  </a:lnTo>
                  <a:lnTo>
                    <a:pt x="46671864" y="10420373"/>
                  </a:lnTo>
                  <a:lnTo>
                    <a:pt x="46527083" y="10420373"/>
                  </a:lnTo>
                  <a:lnTo>
                    <a:pt x="46527083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6527083" y="144780"/>
                  </a:moveTo>
                  <a:lnTo>
                    <a:pt x="46671864" y="144780"/>
                  </a:lnTo>
                  <a:lnTo>
                    <a:pt x="46671864" y="10275594"/>
                  </a:lnTo>
                  <a:lnTo>
                    <a:pt x="46527083" y="10275594"/>
                  </a:lnTo>
                  <a:lnTo>
                    <a:pt x="46527083" y="144780"/>
                  </a:lnTo>
                  <a:close/>
                  <a:moveTo>
                    <a:pt x="144780" y="10275594"/>
                  </a:moveTo>
                  <a:lnTo>
                    <a:pt x="46527083" y="10275594"/>
                  </a:lnTo>
                  <a:lnTo>
                    <a:pt x="46527083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6527083" y="0"/>
                  </a:moveTo>
                  <a:lnTo>
                    <a:pt x="46671864" y="0"/>
                  </a:lnTo>
                  <a:lnTo>
                    <a:pt x="46671864" y="144780"/>
                  </a:lnTo>
                  <a:lnTo>
                    <a:pt x="46527083" y="144780"/>
                  </a:lnTo>
                  <a:lnTo>
                    <a:pt x="46527083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6527083" y="0"/>
                  </a:lnTo>
                  <a:lnTo>
                    <a:pt x="46527083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pPr defTabSz="609630"/>
              <a:endParaRPr lang="en-US" sz="120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4" name="Group 54"/>
          <p:cNvGrpSpPr/>
          <p:nvPr/>
        </p:nvGrpSpPr>
        <p:grpSpPr>
          <a:xfrm>
            <a:off x="4065389" y="512568"/>
            <a:ext cx="4209129" cy="1054068"/>
            <a:chOff x="0" y="271100"/>
            <a:chExt cx="8418259" cy="2108135"/>
          </a:xfrm>
        </p:grpSpPr>
        <p:sp>
          <p:nvSpPr>
            <p:cNvPr id="55" name="TextBox 55"/>
            <p:cNvSpPr txBox="1"/>
            <p:nvPr/>
          </p:nvSpPr>
          <p:spPr>
            <a:xfrm>
              <a:off x="0" y="1932317"/>
              <a:ext cx="8418259" cy="44691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1784"/>
                </a:lnSpc>
              </a:pPr>
              <a:r>
                <a:rPr lang="en-US" sz="1487">
                  <a:solidFill>
                    <a:srgbClr val="1B1464"/>
                  </a:solidFill>
                  <a:latin typeface="HK Grotesk"/>
                  <a:ea typeface="HK Grotesk"/>
                  <a:cs typeface="HK Grotesk"/>
                  <a:sym typeface="HK Grotesk"/>
                </a:rPr>
                <a:t>Share the great work that your ESSI Team is doing! </a:t>
              </a:r>
            </a:p>
          </p:txBody>
        </p:sp>
        <p:sp>
          <p:nvSpPr>
            <p:cNvPr id="56" name="TextBox 56"/>
            <p:cNvSpPr txBox="1"/>
            <p:nvPr/>
          </p:nvSpPr>
          <p:spPr>
            <a:xfrm>
              <a:off x="0" y="271100"/>
              <a:ext cx="8418259" cy="151554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609630">
                <a:lnSpc>
                  <a:spcPts val="2829"/>
                </a:lnSpc>
              </a:pPr>
              <a:r>
                <a:rPr lang="en-US" sz="3823" dirty="0">
                  <a:solidFill>
                    <a:srgbClr val="1B1464"/>
                  </a:solidFill>
                  <a:latin typeface="TAN Tangkiwood"/>
                  <a:ea typeface="TAN Tangkiwood"/>
                  <a:cs typeface="TAN Tangkiwood"/>
                  <a:sym typeface="TAN Tangkiwood"/>
                </a:rPr>
                <a:t>2025 F2F Neonatal Storyboards</a:t>
              </a:r>
            </a:p>
          </p:txBody>
        </p:sp>
      </p:grpSp>
      <p:sp>
        <p:nvSpPr>
          <p:cNvPr id="57" name="TextBox 57"/>
          <p:cNvSpPr txBox="1"/>
          <p:nvPr/>
        </p:nvSpPr>
        <p:spPr>
          <a:xfrm>
            <a:off x="825815" y="6241540"/>
            <a:ext cx="2590580" cy="4542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1784"/>
              </a:lnSpc>
              <a:spcBef>
                <a:spcPct val="0"/>
              </a:spcBef>
            </a:pPr>
            <a:r>
              <a:rPr lang="en-US" sz="1487" b="1">
                <a:solidFill>
                  <a:srgbClr val="1B1464"/>
                </a:solidFill>
                <a:latin typeface="HK Grotesk Bold"/>
                <a:ea typeface="HK Grotesk Bold"/>
                <a:cs typeface="HK Grotesk Bold"/>
                <a:sym typeface="HK Grotesk Bold"/>
              </a:rPr>
              <a:t>Introduce your hospital and ESSI QI Team</a:t>
            </a:r>
          </a:p>
        </p:txBody>
      </p:sp>
      <p:sp>
        <p:nvSpPr>
          <p:cNvPr id="58" name="TextBox 58"/>
          <p:cNvSpPr txBox="1"/>
          <p:nvPr/>
        </p:nvSpPr>
        <p:spPr>
          <a:xfrm>
            <a:off x="4651612" y="6260660"/>
            <a:ext cx="3001326" cy="4103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1631"/>
              </a:lnSpc>
              <a:spcBef>
                <a:spcPct val="0"/>
              </a:spcBef>
            </a:pPr>
            <a:r>
              <a:rPr lang="en-US" sz="1359" b="1">
                <a:solidFill>
                  <a:srgbClr val="1B1464"/>
                </a:solidFill>
                <a:latin typeface="HK Grotesk Bold"/>
                <a:ea typeface="HK Grotesk Bold"/>
                <a:cs typeface="HK Grotesk Bold"/>
                <a:sym typeface="HK Grotesk Bold"/>
              </a:rPr>
              <a:t>Share different strategies around safe sleep education and conversations</a:t>
            </a:r>
          </a:p>
        </p:txBody>
      </p:sp>
      <p:sp>
        <p:nvSpPr>
          <p:cNvPr id="59" name="TextBox 59"/>
          <p:cNvSpPr txBox="1"/>
          <p:nvPr/>
        </p:nvSpPr>
        <p:spPr>
          <a:xfrm>
            <a:off x="8742342" y="6211336"/>
            <a:ext cx="3001326" cy="2051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1631"/>
              </a:lnSpc>
              <a:spcBef>
                <a:spcPct val="0"/>
              </a:spcBef>
            </a:pPr>
            <a:r>
              <a:rPr lang="en-US" sz="1359" b="1">
                <a:solidFill>
                  <a:srgbClr val="1B1464"/>
                </a:solidFill>
                <a:latin typeface="HK Grotesk Bold"/>
                <a:ea typeface="HK Grotesk Bold"/>
                <a:cs typeface="HK Grotesk Bold"/>
                <a:sym typeface="HK Grotesk Bold"/>
              </a:rPr>
              <a:t>Make a plan to pull everything together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F0D1FB4-B928-5957-22DF-53147EDECED8}"/>
              </a:ext>
            </a:extLst>
          </p:cNvPr>
          <p:cNvSpPr txBox="1"/>
          <p:nvPr/>
        </p:nvSpPr>
        <p:spPr>
          <a:xfrm>
            <a:off x="8995416" y="292816"/>
            <a:ext cx="24951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latin typeface="DM Sans" pitchFamily="2" charset="77"/>
              </a:rPr>
              <a:t>Find the template on our event webpage, under “Getting Ready for the Meeting”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092A4705BA2B4F932736A1725E6E61" ma:contentTypeVersion="18" ma:contentTypeDescription="Create a new document." ma:contentTypeScope="" ma:versionID="ebbee26ce1a92ae93adb5cb49ccaf48a">
  <xsd:schema xmlns:xsd="http://www.w3.org/2001/XMLSchema" xmlns:xs="http://www.w3.org/2001/XMLSchema" xmlns:p="http://schemas.microsoft.com/office/2006/metadata/properties" xmlns:ns3="40e6e514-d900-4268-895b-c4602e757f8e" xmlns:ns4="141bf384-ae1f-47bb-b28c-d3a08b6696de" targetNamespace="http://schemas.microsoft.com/office/2006/metadata/properties" ma:root="true" ma:fieldsID="1bf1e38b677dacbda683198b4001957d" ns3:_="" ns4:_="">
    <xsd:import namespace="40e6e514-d900-4268-895b-c4602e757f8e"/>
    <xsd:import namespace="141bf384-ae1f-47bb-b28c-d3a08b6696d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_activity" minOccurs="0"/>
                <xsd:element ref="ns3:MediaServiceObjectDetectorVersions" minOccurs="0"/>
                <xsd:element ref="ns3:MediaServiceSearchProperties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e6e514-d900-4268-895b-c4602e757f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1bf384-ae1f-47bb-b28c-d3a08b6696d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0e6e514-d900-4268-895b-c4602e757f8e" xsi:nil="true"/>
  </documentManagement>
</p:properties>
</file>

<file path=customXml/itemProps1.xml><?xml version="1.0" encoding="utf-8"?>
<ds:datastoreItem xmlns:ds="http://schemas.openxmlformats.org/officeDocument/2006/customXml" ds:itemID="{35C2EB5D-AC92-4CD2-903B-12FF96984C90}">
  <ds:schemaRefs>
    <ds:schemaRef ds:uri="141bf384-ae1f-47bb-b28c-d3a08b6696de"/>
    <ds:schemaRef ds:uri="40e6e514-d900-4268-895b-c4602e757f8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81040FC-5242-4252-831A-13DB1F9187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C10078C-AFB1-479D-9CD7-6C46A808DC56}">
  <ds:schemaRefs>
    <ds:schemaRef ds:uri="141bf384-ae1f-47bb-b28c-d3a08b6696de"/>
    <ds:schemaRef ds:uri="40e6e514-d900-4268-895b-c4602e757f8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81</TotalTime>
  <Words>1488</Words>
  <Application>Microsoft Macintosh PowerPoint</Application>
  <PresentationFormat>Widescreen</PresentationFormat>
  <Paragraphs>214</Paragraphs>
  <Slides>31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50" baseType="lpstr">
      <vt:lpstr>Arial</vt:lpstr>
      <vt:lpstr>Calibri</vt:lpstr>
      <vt:lpstr>DM Sans</vt:lpstr>
      <vt:lpstr>Garet</vt:lpstr>
      <vt:lpstr>Garet Bold</vt:lpstr>
      <vt:lpstr>Helvetica Neue Medium</vt:lpstr>
      <vt:lpstr>HK Grotesk</vt:lpstr>
      <vt:lpstr>HK Grotesk Bold</vt:lpstr>
      <vt:lpstr>Lato Medium</vt:lpstr>
      <vt:lpstr>TAN Tangkiwood</vt:lpstr>
      <vt:lpstr>Times New Roman</vt:lpstr>
      <vt:lpstr>Verdana</vt:lpstr>
      <vt:lpstr>Wingdings</vt:lpstr>
      <vt:lpstr>1_Office Theme</vt:lpstr>
      <vt:lpstr>3_Office Theme</vt:lpstr>
      <vt:lpstr>2_Office Theme</vt:lpstr>
      <vt:lpstr>4_Office Theme</vt:lpstr>
      <vt:lpstr>5_Office Theme</vt:lpstr>
      <vt:lpstr>think-cell Slide</vt:lpstr>
      <vt:lpstr>Equity and Safe Sleep for Infants ESSI Bundle and Pulling it All Together</vt:lpstr>
      <vt:lpstr>Overview</vt:lpstr>
      <vt:lpstr>Attendance Poll</vt:lpstr>
      <vt:lpstr>Face-to-Face Logistics:</vt:lpstr>
      <vt:lpstr>PowerPoint Presentation</vt:lpstr>
      <vt:lpstr>A Note on Hotels</vt:lpstr>
      <vt:lpstr>PowerPoint Presentation</vt:lpstr>
      <vt:lpstr>PowerPoint Presentation</vt:lpstr>
      <vt:lpstr>PowerPoint Presentation</vt:lpstr>
      <vt:lpstr>Did you finish your resource guide?</vt:lpstr>
      <vt:lpstr>ESSI Initiative Aims, Bundle and Data Progress</vt:lpstr>
      <vt:lpstr>ESSI Initiative Aims</vt:lpstr>
      <vt:lpstr>What is the ESSI Bundl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ame one thing you think a pediatrician would want to know about individual SDOH screening and linkage to care.</vt:lpstr>
      <vt:lpstr>PowerPoint Presentation</vt:lpstr>
      <vt:lpstr>Team Talk:</vt:lpstr>
      <vt:lpstr>Upcoming Events and Opportunities</vt:lpstr>
      <vt:lpstr>Upcoming ESSI Calls</vt:lpstr>
      <vt:lpstr>PowerPoint Presentation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ileen Fleming Suse</dc:creator>
  <cp:lastModifiedBy>Kiela Karina Moreno</cp:lastModifiedBy>
  <cp:revision>420</cp:revision>
  <dcterms:created xsi:type="dcterms:W3CDTF">2024-01-16T19:17:00Z</dcterms:created>
  <dcterms:modified xsi:type="dcterms:W3CDTF">2025-04-21T14:5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092A4705BA2B4F932736A1725E6E61</vt:lpwstr>
  </property>
</Properties>
</file>